
<file path=[Content_Types].xml><?xml version="1.0" encoding="utf-8"?>
<Types xmlns="http://schemas.openxmlformats.org/package/2006/content-types">
  <Default Extension="jpeg" ContentType="image/jpeg"/>
  <Default Extension="wav" ContentType="audio/x-wav"/>
  <Default Extension="png" ContentType="image/png"/>
  <Default Extension="mp3" ContentType="audio/mp3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831" r:id="rId3"/>
    <p:sldId id="836" r:id="rId5"/>
    <p:sldId id="744" r:id="rId6"/>
    <p:sldId id="862" r:id="rId7"/>
    <p:sldId id="786" r:id="rId8"/>
    <p:sldId id="842" r:id="rId9"/>
    <p:sldId id="865" r:id="rId10"/>
    <p:sldId id="798" r:id="rId11"/>
    <p:sldId id="895" r:id="rId12"/>
    <p:sldId id="853" r:id="rId13"/>
    <p:sldId id="867" r:id="rId14"/>
    <p:sldId id="890" r:id="rId15"/>
    <p:sldId id="891" r:id="rId16"/>
    <p:sldId id="892" r:id="rId17"/>
    <p:sldId id="893" r:id="rId18"/>
    <p:sldId id="894" r:id="rId19"/>
    <p:sldId id="823" r:id="rId20"/>
    <p:sldId id="872" r:id="rId21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</p:showPr>
  <p:clrMru>
    <a:srgbClr val="84B3A4"/>
    <a:srgbClr val="769B37"/>
    <a:srgbClr val="829662"/>
    <a:srgbClr val="BA421E"/>
    <a:srgbClr val="0A0106"/>
    <a:srgbClr val="D4631E"/>
    <a:srgbClr val="E1732F"/>
    <a:srgbClr val="31302E"/>
    <a:srgbClr val="DB532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6601" autoAdjust="0"/>
    <p:restoredTop sz="91579" autoAdjust="0"/>
  </p:normalViewPr>
  <p:slideViewPr>
    <p:cSldViewPr>
      <p:cViewPr varScale="1">
        <p:scale>
          <a:sx n="136" d="100"/>
          <a:sy n="136" d="100"/>
        </p:scale>
        <p:origin x="432" y="114"/>
      </p:cViewPr>
      <p:guideLst>
        <p:guide orient="horz" pos="1619"/>
        <p:guide pos="2906"/>
      </p:guideLst>
    </p:cSldViewPr>
  </p:slideViewPr>
  <p:notesTextViewPr>
    <p:cViewPr>
      <p:scale>
        <a:sx n="25" d="100"/>
        <a:sy n="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D96D07-341D-4D88-BBFE-B431BFA0419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2A0F9D-3357-4A94-85C8-3B842B870DC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image" Target="../media/image1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" y="0"/>
            <a:ext cx="9135879" cy="51435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media" Target="../media/media1.mp3"/><Relationship Id="rId3" Type="http://schemas.openxmlformats.org/officeDocument/2006/relationships/audio" Target="../media/media1.mp3"/><Relationship Id="rId2" Type="http://schemas.openxmlformats.org/officeDocument/2006/relationships/image" Target="../media/image3.png"/><Relationship Id="rId1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2.jpeg"/><Relationship Id="rId1" Type="http://schemas.openxmlformats.org/officeDocument/2006/relationships/audio" Target="../media/audio1.wav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3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3.png"/><Relationship Id="rId1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" y="0"/>
            <a:ext cx="9135879" cy="51435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>
            <a:off x="4355977" y="0"/>
            <a:ext cx="2664296" cy="1491630"/>
          </a:xfrm>
          <a:prstGeom prst="rect">
            <a:avLst/>
          </a:prstGeom>
        </p:spPr>
      </p:pic>
      <p:pic>
        <p:nvPicPr>
          <p:cNvPr id="9" name="守护甜心 - 唯美纯音乐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974945" y="7185697"/>
            <a:ext cx="609600" cy="60960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189605" y="1543685"/>
            <a:ext cx="4128770" cy="16916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800" b="1"/>
              <a:t>聚焦案例，再谈评价</a:t>
            </a:r>
            <a:endParaRPr lang="zh-CN" altLang="en-US" sz="2800" b="1"/>
          </a:p>
          <a:p>
            <a:r>
              <a:rPr lang="en-US" altLang="zh-CN" sz="2800"/>
              <a:t>——</a:t>
            </a:r>
            <a:r>
              <a:rPr lang="en-US" altLang="zh-CN" sz="1200" b="1"/>
              <a:t>《课程游戏化背景下幼儿创意手工园本课程的开发研究》课题 </a:t>
            </a:r>
            <a:r>
              <a:rPr lang="zh-CN" altLang="en-US" sz="1200" b="1"/>
              <a:t>第一次活动</a:t>
            </a:r>
            <a:endParaRPr lang="zh-CN" altLang="en-US" sz="1200" b="1"/>
          </a:p>
          <a:p>
            <a:endParaRPr lang="zh-CN" altLang="en-US" sz="1200" b="1"/>
          </a:p>
          <a:p>
            <a:endParaRPr lang="zh-CN" altLang="en-US" sz="1200" b="1"/>
          </a:p>
          <a:p>
            <a:pPr algn="ctr"/>
            <a:r>
              <a:rPr lang="zh-CN" altLang="en-US" sz="1200" b="1"/>
              <a:t>       春江幼儿园百馨西苑    刘丹</a:t>
            </a:r>
            <a:endParaRPr lang="zh-CN" altLang="en-US" sz="1200" b="1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4400">
        <p14:honeycomb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19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/>
          <p:nvPr/>
        </p:nvSpPr>
        <p:spPr>
          <a:xfrm>
            <a:off x="6079490" y="510540"/>
            <a:ext cx="2377440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</a:t>
            </a:r>
            <a:r>
              <a:rPr lang="zh-CN" altLang="en-US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点梳理</a:t>
            </a:r>
            <a:endParaRPr lang="en-US" altLang="zh-CN" sz="280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772920" y="1762760"/>
            <a:ext cx="2181225" cy="2186305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2108832" y="1361124"/>
            <a:ext cx="1510068" cy="469799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1600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21"/>
          <p:cNvSpPr txBox="1"/>
          <p:nvPr/>
        </p:nvSpPr>
        <p:spPr bwMode="auto">
          <a:xfrm>
            <a:off x="2220748" y="1391140"/>
            <a:ext cx="1286465" cy="373667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前</a:t>
            </a:r>
            <a:endParaRPr lang="zh-CN" altLang="zh-CN" sz="16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772877" y="2011079"/>
            <a:ext cx="2119037" cy="1938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观察幼儿，了解创意思维和技能。教师可以去询问幼儿的想法。</a:t>
            </a:r>
            <a:endParaRPr lang="zh-CN" altLang="en-US"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适时介入：话语式提问。当他遇到问题或困难时可以用话语去提问、引导幼儿去发现；鼓励式介入等。</a:t>
            </a:r>
            <a:endParaRPr lang="zh-CN" altLang="en-US"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</a:t>
            </a:r>
            <a:r>
              <a:rPr lang="zh-CN" altLang="en-US"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材料的投入，如实物菊花</a:t>
            </a:r>
            <a:endParaRPr lang="zh-CN" altLang="en-US"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endParaRPr lang="zh-CN" altLang="en-US"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064760" y="1390650"/>
            <a:ext cx="2181225" cy="2557550"/>
            <a:chOff x="9605" y="2115"/>
            <a:chExt cx="3435" cy="2955"/>
          </a:xfrm>
        </p:grpSpPr>
        <p:sp>
          <p:nvSpPr>
            <p:cNvPr id="18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9605" y="2623"/>
              <a:ext cx="3435" cy="2447"/>
            </a:xfrm>
            <a:prstGeom prst="roundRect">
              <a:avLst>
                <a:gd name="adj" fmla="val 7012"/>
              </a:avLst>
            </a:prstGeom>
            <a:noFill/>
            <a:ln w="38100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anchor="ctr"/>
            <a:lstStyle/>
            <a:p>
              <a:pPr marL="0" lvl="2" algn="ctr" eaLnBrk="0" fontAlgn="ctr" hangingPunct="0"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AutoShape 3"/>
            <p:cNvSpPr>
              <a:spLocks noChangeArrowheads="1"/>
            </p:cNvSpPr>
            <p:nvPr/>
          </p:nvSpPr>
          <p:spPr bwMode="auto">
            <a:xfrm>
              <a:off x="10095" y="2115"/>
              <a:ext cx="2378" cy="552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ctr" hangingPunct="0">
                <a:buClr>
                  <a:srgbClr val="FF0000"/>
                </a:buClr>
                <a:buSzPct val="70000"/>
                <a:defRPr/>
              </a:pPr>
              <a:endParaRPr lang="zh-CN" altLang="zh-CN" sz="16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TextBox 28"/>
            <p:cNvSpPr txBox="1"/>
            <p:nvPr/>
          </p:nvSpPr>
          <p:spPr bwMode="auto">
            <a:xfrm>
              <a:off x="10231" y="2174"/>
              <a:ext cx="2106" cy="432"/>
            </a:xfrm>
            <a:prstGeom prst="round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 wrap="square">
              <a:spAutoFit/>
            </a:bodyPr>
            <a:lstStyle/>
            <a:p>
              <a:pPr algn="ctr">
                <a:buClr>
                  <a:srgbClr val="7F7F7F"/>
                </a:buClr>
                <a:defRPr/>
              </a:pPr>
              <a:r>
                <a:rPr lang="zh-CN" altLang="en-US" sz="1600" b="1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后</a:t>
              </a:r>
              <a:endPara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3" name="TextBox 37"/>
          <p:cNvSpPr txBox="1"/>
          <p:nvPr/>
        </p:nvSpPr>
        <p:spPr>
          <a:xfrm>
            <a:off x="1223645" y="782955"/>
            <a:ext cx="25203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spc="-1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讨论，我们梳理出：</a:t>
            </a:r>
            <a:endParaRPr lang="zh-CN" altLang="en-US" sz="1600" b="1" spc="-1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095832" y="1919639"/>
            <a:ext cx="2119037" cy="1198880"/>
          </a:xfrm>
          <a:prstGeom prst="rect">
            <a:avLst/>
          </a:prstGeom>
        </p:spPr>
        <p:txBody>
          <a:bodyPr wrap="square">
            <a:spAutoFit/>
          </a:bodyPr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、幼幼交流</a:t>
            </a:r>
            <a:endParaRPr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、轮流分享</a:t>
            </a:r>
            <a:endParaRPr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、师幼（自评、他评、教师评）</a:t>
            </a:r>
            <a:endParaRPr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l" defTabSz="913130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sz="1200" b="1" spc="50" dirty="0">
                <a:ln w="11430"/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、材料的使用，制作过程、新技能辐射（绕）</a:t>
            </a:r>
            <a:endParaRPr sz="1200" b="1" spc="50" dirty="0">
              <a:ln w="11430"/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430020" y="4020185"/>
            <a:ext cx="669417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我们的建议：</a:t>
            </a:r>
            <a:endParaRPr lang="zh-CN" altLang="en-US"/>
          </a:p>
          <a:p>
            <a:pPr algn="l"/>
            <a:r>
              <a:rPr lang="zh-CN" altLang="en-US"/>
              <a:t>        幼幼交流和轮流交流有点重复，我们第二环节可以用预约制的交流的方式。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12" grpId="0" bldLvl="0" animBg="1"/>
      <p:bldP spid="13" grpId="0"/>
      <p:bldP spid="14" grpId="0"/>
      <p:bldP spid="23" grpId="0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/>
          <p:cNvGrpSpPr/>
          <p:nvPr/>
        </p:nvGrpSpPr>
        <p:grpSpPr>
          <a:xfrm>
            <a:off x="5473739" y="1112024"/>
            <a:ext cx="316865" cy="858257"/>
            <a:chOff x="7148948" y="2531570"/>
            <a:chExt cx="422486" cy="1144342"/>
          </a:xfrm>
        </p:grpSpPr>
        <p:cxnSp>
          <p:nvCxnSpPr>
            <p:cNvPr id="9" name="直接连接符 8"/>
            <p:cNvCxnSpPr/>
            <p:nvPr/>
          </p:nvCxnSpPr>
          <p:spPr>
            <a:xfrm flipH="1">
              <a:off x="7354129" y="2913430"/>
              <a:ext cx="1" cy="762482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组合 9"/>
            <p:cNvGrpSpPr/>
            <p:nvPr/>
          </p:nvGrpSpPr>
          <p:grpSpPr>
            <a:xfrm>
              <a:off x="7148948" y="2531570"/>
              <a:ext cx="422486" cy="491066"/>
              <a:chOff x="7148948" y="2531570"/>
              <a:chExt cx="422486" cy="491066"/>
            </a:xfrm>
          </p:grpSpPr>
          <p:sp>
            <p:nvSpPr>
              <p:cNvPr id="11" name="椭圆 10"/>
              <p:cNvSpPr/>
              <p:nvPr/>
            </p:nvSpPr>
            <p:spPr>
              <a:xfrm>
                <a:off x="7159500" y="2576506"/>
                <a:ext cx="387795" cy="3877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564B4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文本框 44"/>
              <p:cNvSpPr txBox="1"/>
              <p:nvPr/>
            </p:nvSpPr>
            <p:spPr>
              <a:xfrm>
                <a:off x="7148948" y="2531570"/>
                <a:ext cx="422486" cy="4910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8" name="组合 17"/>
          <p:cNvGrpSpPr/>
          <p:nvPr/>
        </p:nvGrpSpPr>
        <p:grpSpPr>
          <a:xfrm>
            <a:off x="2475302" y="1059632"/>
            <a:ext cx="319319" cy="876991"/>
            <a:chOff x="2098242" y="2506590"/>
            <a:chExt cx="425759" cy="1169322"/>
          </a:xfrm>
        </p:grpSpPr>
        <p:cxnSp>
          <p:nvCxnSpPr>
            <p:cNvPr id="19" name="直接连接符 18"/>
            <p:cNvCxnSpPr/>
            <p:nvPr/>
          </p:nvCxnSpPr>
          <p:spPr>
            <a:xfrm flipH="1">
              <a:off x="2320424" y="2913430"/>
              <a:ext cx="1" cy="762482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组合 19"/>
            <p:cNvGrpSpPr/>
            <p:nvPr/>
          </p:nvGrpSpPr>
          <p:grpSpPr>
            <a:xfrm>
              <a:off x="2098242" y="2506590"/>
              <a:ext cx="425759" cy="492443"/>
              <a:chOff x="2098242" y="2506590"/>
              <a:chExt cx="425759" cy="492443"/>
            </a:xfrm>
          </p:grpSpPr>
          <p:sp>
            <p:nvSpPr>
              <p:cNvPr id="21" name="椭圆 20"/>
              <p:cNvSpPr/>
              <p:nvPr/>
            </p:nvSpPr>
            <p:spPr>
              <a:xfrm>
                <a:off x="2125795" y="2576506"/>
                <a:ext cx="387795" cy="38779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564B4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文本框 42"/>
              <p:cNvSpPr txBox="1"/>
              <p:nvPr/>
            </p:nvSpPr>
            <p:spPr>
              <a:xfrm>
                <a:off x="2098242" y="2506590"/>
                <a:ext cx="425759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23" name="矩形 22"/>
          <p:cNvSpPr/>
          <p:nvPr/>
        </p:nvSpPr>
        <p:spPr>
          <a:xfrm>
            <a:off x="1685598" y="4038637"/>
            <a:ext cx="1890001" cy="4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>
              <a:solidFill>
                <a:srgbClr val="564B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687794" y="4079277"/>
            <a:ext cx="1890001" cy="40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>
              <a:solidFill>
                <a:srgbClr val="564B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1710364" y="1939125"/>
            <a:ext cx="1890000" cy="515726"/>
            <a:chOff x="1059693" y="3272992"/>
            <a:chExt cx="2520000" cy="687635"/>
          </a:xfrm>
          <a:solidFill>
            <a:schemeClr val="bg1"/>
          </a:solidFill>
        </p:grpSpPr>
        <p:sp>
          <p:nvSpPr>
            <p:cNvPr id="28" name="五边形 27"/>
            <p:cNvSpPr/>
            <p:nvPr/>
          </p:nvSpPr>
          <p:spPr>
            <a:xfrm rot="16200000">
              <a:off x="1975875" y="2356809"/>
              <a:ext cx="687635" cy="2520000"/>
            </a:xfrm>
            <a:prstGeom prst="homePlate">
              <a:avLst>
                <a:gd name="adj" fmla="val 4870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564B45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文本框 34"/>
            <p:cNvSpPr txBox="1"/>
            <p:nvPr/>
          </p:nvSpPr>
          <p:spPr>
            <a:xfrm>
              <a:off x="1259246" y="3502010"/>
              <a:ext cx="2120892" cy="416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r>
                <a:rPr lang="zh-CN" altLang="en-US" sz="1600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中的评价</a:t>
              </a:r>
              <a:endParaRPr lang="zh-CN" altLang="en-US" sz="16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文本框 35"/>
          <p:cNvSpPr txBox="1"/>
          <p:nvPr/>
        </p:nvSpPr>
        <p:spPr>
          <a:xfrm>
            <a:off x="1694283" y="2575751"/>
            <a:ext cx="1881095" cy="134810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、及时鼓励幼儿的行为</a:t>
            </a:r>
            <a:endParaRPr lang="zh-CN" altLang="en-US" sz="16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、对亮点材料的评价</a:t>
            </a:r>
            <a:endParaRPr lang="zh-CN" altLang="en-US" sz="16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4687160" y="1970240"/>
            <a:ext cx="1890000" cy="515726"/>
            <a:chOff x="6093398" y="3272992"/>
            <a:chExt cx="2520000" cy="687635"/>
          </a:xfrm>
        </p:grpSpPr>
        <p:sp>
          <p:nvSpPr>
            <p:cNvPr id="32" name="五边形 31"/>
            <p:cNvSpPr/>
            <p:nvPr/>
          </p:nvSpPr>
          <p:spPr>
            <a:xfrm rot="16200000">
              <a:off x="7009580" y="2356809"/>
              <a:ext cx="687635" cy="2520000"/>
            </a:xfrm>
            <a:prstGeom prst="homePlate">
              <a:avLst>
                <a:gd name="adj" fmla="val 48709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564B45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文本框 36"/>
            <p:cNvSpPr txBox="1"/>
            <p:nvPr/>
          </p:nvSpPr>
          <p:spPr>
            <a:xfrm>
              <a:off x="6293798" y="3460509"/>
              <a:ext cx="2120892" cy="452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r>
                <a:rPr lang="zh-CN" altLang="en-US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后的评价</a:t>
              </a:r>
              <a:endParaRPr lang="zh-CN" altLang="en-US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4686986" y="2515426"/>
            <a:ext cx="1881095" cy="146875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、有目的的提问：材料的选择、制作的主题</a:t>
            </a:r>
            <a:endParaRPr lang="zh-CN" altLang="en-US" sz="10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、对活动过程的评价</a:t>
            </a:r>
            <a:endParaRPr lang="zh-CN" altLang="en-US" sz="10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感知——认知——表达——想象</a:t>
            </a:r>
            <a:endParaRPr lang="zh-CN" altLang="en-US" sz="10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、关注幼儿学习品质</a:t>
            </a:r>
            <a:endParaRPr lang="zh-CN" altLang="en-US" sz="10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、依据观察，有目的引导交流</a:t>
            </a:r>
            <a:endParaRPr lang="zh-CN" altLang="en-US" sz="10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 Placeholder 8"/>
          <p:cNvSpPr txBox="1"/>
          <p:nvPr/>
        </p:nvSpPr>
        <p:spPr>
          <a:xfrm>
            <a:off x="5790565" y="510540"/>
            <a:ext cx="2666365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</a:t>
            </a:r>
            <a:r>
              <a:rPr lang="zh-CN" altLang="en-US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点梳理</a:t>
            </a:r>
            <a:endParaRPr lang="en-US" altLang="zh-CN" sz="280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Box 37"/>
          <p:cNvSpPr txBox="1"/>
          <p:nvPr/>
        </p:nvSpPr>
        <p:spPr>
          <a:xfrm>
            <a:off x="716280" y="671830"/>
            <a:ext cx="25203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 b="1" spc="-1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讨论，我们梳理出：</a:t>
            </a:r>
            <a:endParaRPr lang="zh-CN" altLang="en-US" sz="1600" b="1" spc="-1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27932 L 5E-6 2.22222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95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50"/>
                            </p:stCondLst>
                            <p:childTnLst>
                              <p:par>
                                <p:cTn id="2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5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0.27932 L -2.77778E-6 2.22222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951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ldLvl="0" animBg="1"/>
      <p:bldP spid="23" grpId="1" bldLvl="0" animBg="1"/>
      <p:bldP spid="25" grpId="0" bldLvl="0" animBg="1"/>
      <p:bldP spid="25" grpId="1" bldLvl="0" animBg="1"/>
      <p:bldP spid="30" grpId="0"/>
      <p:bldP spid="40" grpId="0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170" name="矩形 8193"/>
          <p:cNvSpPr/>
          <p:nvPr/>
        </p:nvSpPr>
        <p:spPr>
          <a:xfrm>
            <a:off x="1566039" y="743426"/>
            <a:ext cx="6169176" cy="3339465"/>
          </a:xfrm>
          <a:prstGeom prst="rect">
            <a:avLst/>
          </a:prstGeom>
          <a:noFill/>
          <a:ln w="9525">
            <a:noFill/>
          </a:ln>
        </p:spPr>
        <p:txBody>
          <a:bodyPr lIns="72486" tIns="36242" rIns="72486" bIns="36242" anchor="t">
            <a:spAutoFit/>
          </a:bodyPr>
          <a:p>
            <a:pPr indent="304800" algn="just" defTabSz="914400" eaLnBrk="0" hangingPunct="0">
              <a:tabLst>
                <a:tab pos="685800" algn="l"/>
              </a:tabLst>
            </a:pPr>
            <a:r>
              <a:rPr lang="zh-CN" altLang="en-US" sz="2855" b="1" dirty="0">
                <a:solidFill>
                  <a:srgbClr val="000000"/>
                </a:solidFill>
                <a:latin typeface="Times New Roman" panose="02020603050405020304" charset="0"/>
                <a:ea typeface="黑体" panose="02010609060101010101" charset="-122"/>
              </a:rPr>
              <a:t>什么是激励性的评价？</a:t>
            </a:r>
            <a:endParaRPr lang="zh-CN" altLang="en-US" sz="2855" b="1" dirty="0">
              <a:solidFill>
                <a:srgbClr val="FFFF00"/>
              </a:solidFill>
              <a:latin typeface="Times New Roman" panose="02020603050405020304" charset="0"/>
              <a:ea typeface="黑体" panose="02010609060101010101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endParaRPr lang="zh-CN" altLang="en-US" sz="2855" b="1" dirty="0">
              <a:solidFill>
                <a:srgbClr val="FFFF00"/>
              </a:solidFill>
              <a:latin typeface="Times New Roman" panose="02020603050405020304" charset="0"/>
              <a:ea typeface="黑体" panose="02010609060101010101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r>
              <a:rPr lang="en-US" altLang="zh-CN" sz="2220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◆ </a:t>
            </a:r>
            <a:r>
              <a:rPr lang="zh-CN" altLang="en-US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发现</a:t>
            </a:r>
            <a:r>
              <a:rPr lang="en-US" altLang="zh-CN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——</a:t>
            </a:r>
            <a:r>
              <a:rPr lang="zh-CN" altLang="en-US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优点、长处</a:t>
            </a:r>
            <a:endParaRPr lang="zh-CN" altLang="en-US" sz="2220" b="1" dirty="0">
              <a:solidFill>
                <a:srgbClr val="00B0F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r>
              <a:rPr lang="en-US" altLang="zh-CN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◆</a:t>
            </a:r>
            <a:r>
              <a:rPr lang="en-US" altLang="zh-CN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观察</a:t>
            </a:r>
            <a:r>
              <a:rPr lang="en-US" altLang="zh-CN" sz="2220" b="1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——</a:t>
            </a:r>
            <a:r>
              <a:rPr lang="zh-CN" altLang="en-US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细微变化</a:t>
            </a:r>
            <a:r>
              <a:rPr lang="en-US" altLang="zh-CN" sz="2220" b="1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—</a:t>
            </a:r>
            <a:r>
              <a:rPr lang="zh-CN" altLang="en-US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寻找闪光点</a:t>
            </a:r>
            <a:endParaRPr lang="zh-CN" altLang="en-US" sz="3175" b="1" dirty="0">
              <a:solidFill>
                <a:srgbClr val="00B0F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r>
              <a:rPr lang="en-US" altLang="zh-CN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◆</a:t>
            </a:r>
            <a:r>
              <a:rPr lang="en-US" altLang="zh-CN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创造</a:t>
            </a:r>
            <a:r>
              <a:rPr lang="en-US" altLang="zh-CN" sz="2220" b="1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——</a:t>
            </a:r>
            <a:r>
              <a:rPr lang="zh-CN" altLang="en-US" sz="2220" b="1" dirty="0">
                <a:solidFill>
                  <a:srgbClr val="00B0F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持久性的环境</a:t>
            </a:r>
            <a:r>
              <a:rPr lang="zh-CN" altLang="en-US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endParaRPr lang="zh-CN" altLang="en-US" sz="2220" b="1" dirty="0">
              <a:solidFill>
                <a:srgbClr val="00B0F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r>
              <a:rPr lang="en-US" altLang="zh-CN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◆ </a:t>
            </a:r>
            <a:r>
              <a:rPr lang="zh-CN" altLang="en-US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增强</a:t>
            </a:r>
            <a:r>
              <a:rPr lang="en-US" altLang="zh-CN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——</a:t>
            </a:r>
            <a:r>
              <a:rPr lang="zh-CN" altLang="en-US" sz="2220" b="1" dirty="0">
                <a:solidFill>
                  <a:srgbClr val="00B0F0"/>
                </a:solidFill>
                <a:latin typeface="Times New Roman" panose="02020603050405020304" charset="0"/>
                <a:ea typeface="宋体" panose="02010600030101010101" pitchFamily="2" charset="-122"/>
              </a:rPr>
              <a:t>成功愿望</a:t>
            </a:r>
            <a:endParaRPr lang="zh-CN" altLang="en-US" sz="2220" b="1" dirty="0">
              <a:solidFill>
                <a:srgbClr val="00B0F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endParaRPr lang="zh-CN" altLang="en-US" sz="2220" b="1" dirty="0">
              <a:solidFill>
                <a:srgbClr val="FFFF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r>
              <a:rPr lang="zh-CN" altLang="en-US" sz="2220" b="1" dirty="0">
                <a:solidFill>
                  <a:srgbClr val="FF6600"/>
                </a:solidFill>
                <a:latin typeface="Times New Roman" panose="02020603050405020304" charset="0"/>
                <a:ea typeface="宋体" panose="02010600030101010101" pitchFamily="2" charset="-122"/>
              </a:rPr>
              <a:t>     </a:t>
            </a:r>
            <a:r>
              <a:rPr lang="zh-CN" altLang="en-US" sz="2220" b="1" dirty="0">
                <a:solidFill>
                  <a:srgbClr val="00FF00"/>
                </a:solidFill>
                <a:latin typeface="Times New Roman" panose="02020603050405020304" charset="0"/>
                <a:ea typeface="黑体" panose="02010609060101010101" charset="-122"/>
              </a:rPr>
              <a:t>最大限度地调动所有的积极性</a:t>
            </a:r>
            <a:endParaRPr lang="zh-CN" altLang="en-US" sz="2220" b="1" dirty="0">
              <a:solidFill>
                <a:srgbClr val="00FF00"/>
              </a:solidFill>
              <a:latin typeface="Times New Roman" panose="02020603050405020304" charset="0"/>
              <a:ea typeface="黑体" panose="02010609060101010101" charset="-122"/>
            </a:endParaRPr>
          </a:p>
          <a:p>
            <a:pPr indent="304800" algn="just" defTabSz="914400" eaLnBrk="0" hangingPunct="0">
              <a:tabLst>
                <a:tab pos="685800" algn="l"/>
              </a:tabLst>
            </a:pPr>
            <a:endParaRPr lang="zh-CN" altLang="en-US" sz="2220" b="1" dirty="0">
              <a:solidFill>
                <a:srgbClr val="00FF00"/>
              </a:solidFill>
              <a:latin typeface="Times New Roman" panose="02020603050405020304" charset="0"/>
              <a:ea typeface="黑体" panose="02010609060101010101" charset="-122"/>
            </a:endParaRPr>
          </a:p>
        </p:txBody>
      </p:sp>
    </p:spTree>
  </p:cSld>
  <p:clrMapOvr>
    <a:masterClrMapping/>
  </p:clrMapOvr>
  <p:transition>
    <p:blinds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146" name="矩形 6145"/>
          <p:cNvSpPr/>
          <p:nvPr/>
        </p:nvSpPr>
        <p:spPr>
          <a:xfrm>
            <a:off x="1485396" y="1028196"/>
            <a:ext cx="5943628" cy="2708910"/>
          </a:xfrm>
          <a:prstGeom prst="rect">
            <a:avLst/>
          </a:prstGeom>
          <a:noFill/>
          <a:ln w="9525">
            <a:noFill/>
          </a:ln>
        </p:spPr>
        <p:txBody>
          <a:bodyPr lIns="72486" tIns="36242" rIns="72486" bIns="36242" anchor="t">
            <a:spAutoFit/>
          </a:bodyPr>
          <a:p>
            <a:pPr indent="330200" defTabSz="914400" eaLnBrk="0" hangingPunct="0">
              <a:tabLst>
                <a:tab pos="114300" algn="l"/>
              </a:tabLst>
            </a:pPr>
            <a:r>
              <a:rPr lang="en-US" altLang="zh-CN" sz="1905" dirty="0">
                <a:latin typeface="宋体" panose="02010600030101010101" pitchFamily="2" charset="-122"/>
                <a:ea typeface="宋体" panose="02010600030101010101" pitchFamily="2" charset="-122"/>
              </a:rPr>
              <a:t> </a:t>
            </a:r>
            <a:r>
              <a:rPr lang="en-US" altLang="zh-CN" sz="1905" b="1" dirty="0">
                <a:latin typeface="宋体" panose="02010600030101010101" pitchFamily="2" charset="-122"/>
                <a:ea typeface="黑体" panose="02010609060101010101" charset="-122"/>
              </a:rPr>
              <a:t> </a:t>
            </a:r>
            <a:endParaRPr lang="en-US" altLang="zh-CN" sz="1905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indent="330200" defTabSz="914400" eaLnBrk="0" hangingPunct="0">
              <a:tabLst>
                <a:tab pos="114300" algn="l"/>
              </a:tabLst>
            </a:pPr>
            <a:r>
              <a:rPr lang="zh-CN" altLang="en-US" sz="2540" b="1" dirty="0">
                <a:solidFill>
                  <a:srgbClr val="800000"/>
                </a:solidFill>
                <a:latin typeface="Times New Roman" panose="02020603050405020304" charset="0"/>
                <a:ea typeface="宋体" panose="02010600030101010101" pitchFamily="2" charset="-122"/>
              </a:rPr>
              <a:t>误区：激励性评价</a:t>
            </a:r>
            <a:r>
              <a:rPr lang="en-US" altLang="zh-CN" sz="2540" b="1" dirty="0">
                <a:solidFill>
                  <a:srgbClr val="800000"/>
                </a:solidFill>
                <a:latin typeface="Times New Roman" panose="02020603050405020304" charset="0"/>
                <a:ea typeface="宋体" panose="02010600030101010101" pitchFamily="2" charset="-122"/>
              </a:rPr>
              <a:t>≠</a:t>
            </a:r>
            <a:r>
              <a:rPr lang="zh-CN" altLang="en-US" sz="2540" b="1" dirty="0">
                <a:solidFill>
                  <a:srgbClr val="800000"/>
                </a:solidFill>
                <a:latin typeface="Times New Roman" panose="02020603050405020304" charset="0"/>
                <a:ea typeface="宋体" panose="02010600030101010101" pitchFamily="2" charset="-122"/>
              </a:rPr>
              <a:t>等价制评价（优、  良、合格、待合格）</a:t>
            </a:r>
            <a:endParaRPr lang="zh-CN" altLang="en-US" sz="2540" b="1" dirty="0">
              <a:solidFill>
                <a:srgbClr val="8000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30200" defTabSz="914400" eaLnBrk="0" hangingPunct="0">
              <a:tabLst>
                <a:tab pos="114300" algn="l"/>
              </a:tabLst>
            </a:pPr>
            <a:endParaRPr lang="zh-CN" altLang="en-US" sz="2540" dirty="0">
              <a:solidFill>
                <a:srgbClr val="8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indent="330200" algn="just" defTabSz="914400" eaLnBrk="0" hangingPunct="0">
              <a:tabLst>
                <a:tab pos="114300" algn="l"/>
              </a:tabLst>
            </a:pPr>
            <a:r>
              <a:rPr lang="zh-CN" altLang="en-US" sz="2540" b="1" dirty="0">
                <a:solidFill>
                  <a:srgbClr val="990000"/>
                </a:solidFill>
                <a:latin typeface="Times New Roman" panose="02020603050405020304" charset="0"/>
                <a:ea typeface="宋体" panose="02010600030101010101" pitchFamily="2" charset="-122"/>
              </a:rPr>
              <a:t>正解：激励性评价</a:t>
            </a:r>
            <a:r>
              <a:rPr lang="zh-CN" altLang="en-US" sz="2540" b="1" dirty="0">
                <a:solidFill>
                  <a:srgbClr val="FF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等同于</a:t>
            </a:r>
            <a:endParaRPr lang="zh-CN" altLang="en-US" sz="2540" b="1" dirty="0">
              <a:solidFill>
                <a:srgbClr val="FF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30200" algn="just" defTabSz="914400" eaLnBrk="0" hangingPunct="0">
              <a:tabLst>
                <a:tab pos="114300" algn="l"/>
              </a:tabLst>
            </a:pPr>
            <a:endParaRPr lang="zh-CN" altLang="en-US" sz="2540" b="1" dirty="0">
              <a:solidFill>
                <a:srgbClr val="9900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330200" algn="just" defTabSz="914400" eaLnBrk="0" hangingPunct="0">
              <a:tabLst>
                <a:tab pos="114300" algn="l"/>
              </a:tabLst>
            </a:pPr>
            <a:r>
              <a:rPr lang="zh-CN" altLang="en-US" sz="2540" b="1" dirty="0">
                <a:solidFill>
                  <a:srgbClr val="990000"/>
                </a:solidFill>
                <a:latin typeface="Times New Roman" panose="02020603050405020304" charset="0"/>
                <a:ea typeface="宋体" panose="02010600030101010101" pitchFamily="2" charset="-122"/>
              </a:rPr>
              <a:t>等价制评价＋激励性的评价语</a:t>
            </a:r>
            <a:endParaRPr lang="zh-CN" altLang="en-US" sz="2540" dirty="0">
              <a:solidFill>
                <a:srgbClr val="99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>
    <p:blinds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8194" name="矩形 9217"/>
          <p:cNvSpPr/>
          <p:nvPr/>
        </p:nvSpPr>
        <p:spPr>
          <a:xfrm>
            <a:off x="1384592" y="967714"/>
            <a:ext cx="6229658" cy="852805"/>
          </a:xfrm>
          <a:prstGeom prst="rect">
            <a:avLst/>
          </a:prstGeom>
          <a:noFill/>
          <a:ln w="9525">
            <a:noFill/>
          </a:ln>
        </p:spPr>
        <p:txBody>
          <a:bodyPr lIns="72486" tIns="36242" rIns="72486" bIns="36242" anchor="t">
            <a:spAutoFit/>
          </a:bodyPr>
          <a:p>
            <a:pPr eaLnBrk="0" hangingPunct="0"/>
            <a:endParaRPr lang="en-US" altLang="zh-CN" sz="254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0" hangingPunct="0"/>
            <a:r>
              <a:rPr lang="zh-CN" altLang="en-US" sz="2540" dirty="0">
                <a:latin typeface="宋体" panose="02010600030101010101" pitchFamily="2" charset="-122"/>
                <a:ea typeface="宋体" panose="02010600030101010101" pitchFamily="2" charset="-122"/>
              </a:rPr>
              <a:t>　　</a:t>
            </a:r>
            <a:endParaRPr lang="zh-CN" altLang="en-US" sz="2540" dirty="0">
              <a:latin typeface="Times New Roman" panose="02020603050405020304" charset="0"/>
              <a:ea typeface="宋体" panose="02010600030101010101" pitchFamily="2" charset="-122"/>
            </a:endParaRPr>
          </a:p>
        </p:txBody>
      </p:sp>
      <p:sp>
        <p:nvSpPr>
          <p:cNvPr id="8195" name="矩形 9219"/>
          <p:cNvSpPr/>
          <p:nvPr/>
        </p:nvSpPr>
        <p:spPr>
          <a:xfrm>
            <a:off x="1505557" y="604821"/>
            <a:ext cx="6108694" cy="4032250"/>
          </a:xfrm>
          <a:prstGeom prst="rect">
            <a:avLst/>
          </a:prstGeom>
          <a:noFill/>
          <a:ln w="9525">
            <a:noFill/>
          </a:ln>
        </p:spPr>
        <p:txBody>
          <a:bodyPr lIns="72501" tIns="36250" rIns="72501" bIns="36250" anchor="t">
            <a:spAutoFit/>
          </a:bodyPr>
          <a:p>
            <a:pPr indent="189230" algn="just" eaLnBrk="0" hangingPunct="0"/>
            <a:r>
              <a:rPr lang="zh-CN" altLang="en-US" sz="2220" b="1" dirty="0">
                <a:solidFill>
                  <a:srgbClr val="993300"/>
                </a:solidFill>
                <a:latin typeface="Times New Roman" panose="02020603050405020304" charset="0"/>
                <a:ea typeface="黑体" panose="02010609060101010101" charset="-122"/>
              </a:rPr>
              <a:t>运用激励性评价的策略方法和效果</a:t>
            </a:r>
            <a:endParaRPr lang="zh-CN" altLang="en-US" sz="2220" b="1" dirty="0">
              <a:solidFill>
                <a:srgbClr val="993300"/>
              </a:solidFill>
              <a:latin typeface="Times New Roman" panose="02020603050405020304" charset="0"/>
              <a:ea typeface="黑体" panose="02010609060101010101" charset="-122"/>
            </a:endParaRPr>
          </a:p>
          <a:p>
            <a:pPr indent="189230" algn="just" eaLnBrk="0" hangingPunct="0"/>
            <a:endParaRPr lang="zh-CN" altLang="en-US" sz="2220" b="1" dirty="0">
              <a:solidFill>
                <a:srgbClr val="993300"/>
              </a:solidFill>
              <a:latin typeface="Times New Roman" panose="02020603050405020304" charset="0"/>
              <a:ea typeface="黑体" panose="02010609060101010101" charset="-122"/>
            </a:endParaRPr>
          </a:p>
          <a:p>
            <a:pPr indent="189230" algn="just" eaLnBrk="0" hangingPunct="0"/>
            <a:r>
              <a:rPr lang="zh-CN" altLang="en-US" sz="2220" b="1" dirty="0">
                <a:solidFill>
                  <a:srgbClr val="33CC33"/>
                </a:solidFill>
                <a:latin typeface="Times New Roman" panose="02020603050405020304" charset="0"/>
                <a:ea typeface="黑体" panose="02010609060101010101" charset="-122"/>
              </a:rPr>
              <a:t>策略方法：</a:t>
            </a:r>
            <a:endParaRPr lang="zh-CN" altLang="en-US" sz="2220" b="1" dirty="0">
              <a:solidFill>
                <a:srgbClr val="33CC33"/>
              </a:solidFill>
              <a:latin typeface="Times New Roman" panose="02020603050405020304" charset="0"/>
              <a:ea typeface="黑体" panose="02010609060101010101" charset="-122"/>
            </a:endParaRPr>
          </a:p>
          <a:p>
            <a:pPr indent="189230" algn="just" eaLnBrk="0" hangingPunct="0"/>
            <a:r>
              <a:rPr lang="en-US" altLang="zh-CN" sz="1905" b="1" dirty="0">
                <a:solidFill>
                  <a:srgbClr val="33CC33"/>
                </a:solidFill>
                <a:latin typeface="Times New Roman" panose="02020603050405020304" charset="0"/>
                <a:ea typeface="宋体" panose="02010600030101010101" pitchFamily="2" charset="-122"/>
              </a:rPr>
              <a:t>◆</a:t>
            </a:r>
            <a:r>
              <a:rPr lang="en-US" altLang="zh-CN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制定不同层次不同标准的激励性的评价机制</a:t>
            </a:r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algn="just" eaLnBrk="0" hangingPunct="0"/>
            <a:r>
              <a:rPr lang="en-US" altLang="zh-CN" sz="1905" b="1" dirty="0">
                <a:solidFill>
                  <a:srgbClr val="33CC33"/>
                </a:solidFill>
                <a:latin typeface="Times New Roman" panose="02020603050405020304" charset="0"/>
                <a:ea typeface="宋体" panose="02010600030101010101" pitchFamily="2" charset="-122"/>
              </a:rPr>
              <a:t>◆</a:t>
            </a:r>
            <a:r>
              <a:rPr lang="en-US" altLang="zh-CN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运用低起点、小台阶、多活动、快反馈的方法</a:t>
            </a:r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algn="just" eaLnBrk="0" hangingPunct="0"/>
            <a:r>
              <a:rPr lang="en-US" altLang="zh-CN" sz="1905" b="1" dirty="0">
                <a:solidFill>
                  <a:srgbClr val="33CC33"/>
                </a:solidFill>
                <a:latin typeface="Times New Roman" panose="02020603050405020304" charset="0"/>
                <a:ea typeface="宋体" panose="02010600030101010101" pitchFamily="2" charset="-122"/>
              </a:rPr>
              <a:t>◆</a:t>
            </a:r>
            <a:r>
              <a:rPr lang="en-US" altLang="zh-CN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优化课堂评价语和课后书面语（采用等级制＋评价语相结合的方法）</a:t>
            </a:r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algn="just" eaLnBrk="0" hangingPunct="0"/>
            <a:r>
              <a:rPr lang="en-US" altLang="zh-CN" sz="1905" b="1" dirty="0">
                <a:solidFill>
                  <a:srgbClr val="33CC33"/>
                </a:solidFill>
                <a:latin typeface="Times New Roman" panose="02020603050405020304" charset="0"/>
                <a:ea typeface="宋体" panose="02010600030101010101" pitchFamily="2" charset="-122"/>
              </a:rPr>
              <a:t>◆</a:t>
            </a:r>
            <a:r>
              <a:rPr lang="en-US" altLang="zh-CN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设计不同的奖励方法（创新奖、进步奖、合作奖、技巧奖等）</a:t>
            </a:r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algn="just" eaLnBrk="0" hangingPunct="0"/>
            <a:r>
              <a:rPr lang="en-US" altLang="zh-CN" sz="1905" b="1" dirty="0">
                <a:solidFill>
                  <a:srgbClr val="33CC33"/>
                </a:solidFill>
                <a:latin typeface="Times New Roman" panose="02020603050405020304" charset="0"/>
                <a:ea typeface="宋体" panose="02010600030101010101" pitchFamily="2" charset="-122"/>
              </a:rPr>
              <a:t>◆</a:t>
            </a:r>
            <a:r>
              <a:rPr lang="en-US" altLang="zh-CN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 </a:t>
            </a:r>
            <a:r>
              <a:rPr lang="zh-CN" altLang="en-US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自评、教师评、互评、集体评等方法</a:t>
            </a:r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algn="just" eaLnBrk="0" hangingPunct="0"/>
            <a:r>
              <a:rPr lang="en-US" altLang="zh-CN" sz="1905" b="1" dirty="0">
                <a:solidFill>
                  <a:srgbClr val="33CC33"/>
                </a:solidFill>
                <a:latin typeface="Times New Roman" panose="02020603050405020304" charset="0"/>
                <a:ea typeface="宋体" panose="02010600030101010101" pitchFamily="2" charset="-122"/>
              </a:rPr>
              <a:t>◆ </a:t>
            </a:r>
            <a:r>
              <a:rPr lang="zh-CN" altLang="en-US" sz="1905" b="1" dirty="0">
                <a:solidFill>
                  <a:srgbClr val="663300"/>
                </a:solidFill>
                <a:latin typeface="Times New Roman" panose="02020603050405020304" charset="0"/>
                <a:ea typeface="宋体" panose="02010600030101010101" pitchFamily="2" charset="-122"/>
              </a:rPr>
              <a:t>对不同水平的学生制定不同的学习目标和评价手段</a:t>
            </a:r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algn="just" eaLnBrk="0" hangingPunct="0"/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  <a:p>
            <a:pPr indent="189230" eaLnBrk="0" hangingPunct="0"/>
            <a:endParaRPr lang="zh-CN" altLang="en-US" sz="1905" b="1" dirty="0">
              <a:solidFill>
                <a:srgbClr val="663300"/>
              </a:solidFill>
              <a:latin typeface="Times New Roman" panose="0202060305040502030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>
    <p:blinds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9160" name="图片 49159" descr="6">
            <a:hlinkClick r:id="" action="ppaction://noaction">
              <a:snd r:embed="rId1" name="chimes.wav"/>
            </a:hlinkClick>
            <a:hlinkHover r:id="" action="ppaction://noaction">
              <a:snd r:embed="rId1" name="chimes.wav"/>
            </a:hlinkHover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7485" y="846750"/>
            <a:ext cx="2298320" cy="362892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5363" name="文本框 49161"/>
          <p:cNvSpPr txBox="1"/>
          <p:nvPr/>
        </p:nvSpPr>
        <p:spPr>
          <a:xfrm>
            <a:off x="4630628" y="1442039"/>
            <a:ext cx="3143810" cy="2800985"/>
          </a:xfrm>
          <a:prstGeom prst="rect">
            <a:avLst/>
          </a:prstGeom>
          <a:noFill/>
          <a:ln w="9525">
            <a:noFill/>
          </a:ln>
        </p:spPr>
        <p:txBody>
          <a:bodyPr lIns="72501" tIns="36250" rIns="72501" bIns="36250" anchor="t">
            <a:spAutoFit/>
          </a:bodyPr>
          <a:p>
            <a:r>
              <a:rPr lang="zh-CN" altLang="en-US" sz="1110" b="1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</a:rPr>
              <a:t>题目：</a:t>
            </a:r>
            <a:r>
              <a:rPr lang="en-US" altLang="zh-CN" sz="1110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《</a:t>
            </a:r>
            <a:r>
              <a:rPr lang="zh-CN" altLang="en-US" sz="1110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凶神</a:t>
            </a:r>
            <a:r>
              <a:rPr lang="en-US" altLang="zh-CN" sz="1110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》</a:t>
            </a:r>
            <a:endParaRPr lang="en-US" altLang="zh-CN" sz="1110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r>
              <a:rPr lang="zh-CN" altLang="en-US" sz="1110" b="1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作者</a:t>
            </a:r>
            <a:r>
              <a:rPr lang="en-US" altLang="zh-CN" sz="1110" b="1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:</a:t>
            </a:r>
            <a:r>
              <a:rPr lang="zh-CN" altLang="en-US" sz="1110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朱丹璐</a:t>
            </a:r>
            <a:endParaRPr lang="zh-CN" altLang="en-US" sz="1110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endParaRPr lang="en-US" altLang="zh-CN" sz="1110">
              <a:solidFill>
                <a:srgbClr val="993366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r>
              <a:rPr lang="en-US" altLang="zh-CN" sz="111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r>
              <a:rPr lang="zh-CN" altLang="en-US" sz="1110" b="1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隐现手工制作能力的评价：</a:t>
            </a:r>
            <a:endParaRPr lang="zh-CN" altLang="en-US" sz="1110" b="1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r>
              <a:rPr lang="zh-CN" altLang="en-US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  </a:t>
            </a:r>
            <a:r>
              <a:rPr lang="en-US" altLang="zh-CN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a.</a:t>
            </a:r>
            <a:r>
              <a:rPr lang="zh-CN" altLang="en-US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设计有创意、</a:t>
            </a:r>
            <a:r>
              <a:rPr lang="en-US" altLang="zh-CN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b.</a:t>
            </a:r>
            <a:r>
              <a:rPr lang="zh-CN" altLang="en-US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彩纸选择妙、</a:t>
            </a:r>
            <a:r>
              <a:rPr lang="en-US" altLang="zh-CN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.</a:t>
            </a:r>
            <a:r>
              <a:rPr lang="zh-CN" altLang="en-US" sz="1110" dirty="0">
                <a:solidFill>
                  <a:srgbClr val="99336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制作工艺精</a:t>
            </a:r>
            <a:endParaRPr lang="zh-CN" altLang="en-US" sz="1110" dirty="0">
              <a:solidFill>
                <a:srgbClr val="993366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endParaRPr lang="zh-CN" altLang="en-US" sz="1110" b="1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charset="-122"/>
            </a:endParaRPr>
          </a:p>
          <a:p>
            <a:r>
              <a:rPr lang="zh-CN" altLang="en-US" sz="1110" b="1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</a:rPr>
              <a:t>学生点评：</a:t>
            </a:r>
            <a:r>
              <a:rPr lang="zh-CN" altLang="en-US" sz="1110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你怕吗？我用废旧的纸片和瓶盖来装饰凶神，你一定很害怕呢！凶神还长着两颗尖尖的牙齿。</a:t>
            </a:r>
            <a:endParaRPr lang="zh-CN" altLang="en-US" sz="1110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endParaRPr lang="zh-CN" altLang="en-US" sz="1110" b="1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charset="-122"/>
            </a:endParaRPr>
          </a:p>
          <a:p>
            <a:r>
              <a:rPr lang="zh-CN" altLang="en-US" sz="1110" b="1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</a:rPr>
              <a:t>教师点评：</a:t>
            </a:r>
            <a:r>
              <a:rPr lang="zh-CN" altLang="en-US" sz="1110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你的这张凶神面具，制作得非常棒！，画面装饰得简洁大方、色彩简练、夸张、有趣味，一眼望去给人一种可怕的感觉，而且你能变废为宝，体现环保的意识，你真了不起！如果你能将凶神的胡须爬满它的整个腮帮，那么凶神就更凶了！</a:t>
            </a:r>
            <a:endParaRPr lang="zh-CN" altLang="en-US" sz="1110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9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8434" name="副标题 30722"/>
          <p:cNvSpPr>
            <a:spLocks noGrp="1" noRot="1"/>
          </p:cNvSpPr>
          <p:nvPr>
            <p:ph type="subTitle" idx="1"/>
          </p:nvPr>
        </p:nvSpPr>
        <p:spPr>
          <a:xfrm>
            <a:off x="1687003" y="725785"/>
            <a:ext cx="5745801" cy="3870855"/>
          </a:xfrm>
        </p:spPr>
        <p:txBody>
          <a:bodyPr lIns="68572" tIns="34285" rIns="68572" bIns="34285" anchor="t"/>
          <a:p>
            <a:pPr algn="l" defTabSz="863600">
              <a:buSzPct val="85000"/>
            </a:pPr>
            <a:r>
              <a:rPr lang="zh-CN" altLang="en-US" sz="2220" b="1" kern="1200" baseline="0" dirty="0">
                <a:solidFill>
                  <a:srgbClr val="CC3300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常用的激励性评价语 </a:t>
            </a:r>
            <a:endParaRPr lang="zh-CN" altLang="en-US" sz="2220" b="1" kern="1200" baseline="0" dirty="0">
              <a:solidFill>
                <a:srgbClr val="CC3300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algn="l" defTabSz="863600">
              <a:buSzPct val="85000"/>
            </a:pPr>
            <a:r>
              <a:rPr lang="en-US" altLang="zh-CN" sz="1585" b="1" kern="1200" baseline="0" dirty="0">
                <a:solidFill>
                  <a:srgbClr val="FF9900"/>
                </a:solidFill>
                <a:latin typeface="宋体" panose="02010600030101010101" pitchFamily="2" charset="-122"/>
                <a:ea typeface="+mn-ea"/>
                <a:cs typeface="+mn-cs"/>
              </a:rPr>
              <a:t>▲</a:t>
            </a:r>
            <a:r>
              <a:rPr lang="zh-CN" altLang="en-US" sz="1585" b="1" kern="1200" baseline="0" dirty="0">
                <a:solidFill>
                  <a:srgbClr val="663300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可延伸性的激励性评价语如：</a:t>
            </a:r>
            <a:endParaRPr lang="zh-CN" altLang="en-US" sz="1585" b="1" kern="1200" baseline="0" dirty="0">
              <a:solidFill>
                <a:srgbClr val="663300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algn="l" defTabSz="863600">
              <a:buSzPct val="85000"/>
            </a:pPr>
            <a:r>
              <a:rPr lang="zh-CN" altLang="en-US" sz="1585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    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这张画造型、构图准确，画面中的人物大小对比恰到好处，颜色到位，真了不起！非常好！继续努力，长大后定会成为一名画家。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+mn-lt"/>
                <a:ea typeface="+mn-ea"/>
                <a:cs typeface="+mn-cs"/>
              </a:rPr>
              <a:t> </a:t>
            </a:r>
            <a:endParaRPr lang="zh-CN" altLang="en-US" sz="1585" b="1" kern="1200" baseline="0" dirty="0">
              <a:solidFill>
                <a:srgbClr val="990000"/>
              </a:solidFill>
              <a:latin typeface="+mn-lt"/>
              <a:ea typeface="+mn-ea"/>
              <a:cs typeface="+mn-cs"/>
            </a:endParaRPr>
          </a:p>
          <a:p>
            <a:pPr algn="l" defTabSz="863600">
              <a:buSzPct val="85000"/>
            </a:pPr>
            <a:r>
              <a:rPr lang="en-US" altLang="zh-CN" sz="1585" b="1" kern="1200" baseline="0" dirty="0">
                <a:solidFill>
                  <a:srgbClr val="33CC33"/>
                </a:solidFill>
                <a:latin typeface="宋体" panose="02010600030101010101" pitchFamily="2" charset="-122"/>
                <a:ea typeface="+mn-ea"/>
                <a:cs typeface="+mn-cs"/>
              </a:rPr>
              <a:t>▲</a:t>
            </a:r>
            <a:r>
              <a:rPr lang="zh-CN" altLang="en-US" sz="1585" b="1" kern="1200" baseline="0" dirty="0">
                <a:solidFill>
                  <a:srgbClr val="663300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激励性的评价语如：</a:t>
            </a:r>
            <a:endParaRPr lang="zh-CN" altLang="en-US" sz="1585" b="1" kern="1200" baseline="0" dirty="0">
              <a:solidFill>
                <a:srgbClr val="663300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algn="l" defTabSz="863600">
              <a:buSzPct val="85000"/>
            </a:pPr>
            <a:r>
              <a:rPr lang="zh-CN" altLang="en-US" sz="1585" b="1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    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Times New Roman" panose="02020603050405020304" charset="0"/>
                <a:ea typeface="+mn-ea"/>
                <a:cs typeface="+mn-cs"/>
              </a:rPr>
              <a:t>这张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画的颜色画得漂亮极了，很好</a:t>
            </a:r>
            <a:r>
              <a:rPr lang="en-US" altLang="zh-CN" sz="1585" b="1" kern="1200" baseline="0">
                <a:solidFill>
                  <a:srgbClr val="990000"/>
                </a:solidFill>
                <a:latin typeface="Times New Roman" panose="02020603050405020304" charset="0"/>
                <a:ea typeface="+mn-ea"/>
                <a:cs typeface="+mn-cs"/>
              </a:rPr>
              <a:t>!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加油！你真棒</a:t>
            </a:r>
            <a:r>
              <a:rPr lang="en-US" altLang="zh-CN" sz="1585" b="1" kern="1200" baseline="0">
                <a:solidFill>
                  <a:srgbClr val="990000"/>
                </a:solidFill>
                <a:latin typeface="Times New Roman" panose="02020603050405020304" charset="0"/>
                <a:ea typeface="+mn-ea"/>
                <a:cs typeface="+mn-cs"/>
              </a:rPr>
              <a:t>!</a:t>
            </a:r>
            <a:r>
              <a:rPr lang="en-US" altLang="zh-CN" sz="1585" b="1" kern="1200" baseline="0">
                <a:solidFill>
                  <a:srgbClr val="990000"/>
                </a:solidFill>
                <a:latin typeface="+mn-lt"/>
                <a:ea typeface="+mn-ea"/>
                <a:cs typeface="+mn-cs"/>
              </a:rPr>
              <a:t> </a:t>
            </a:r>
            <a:endParaRPr lang="en-US" altLang="zh-CN" sz="1585" b="1" kern="1200" baseline="0">
              <a:solidFill>
                <a:srgbClr val="990000"/>
              </a:solidFill>
              <a:latin typeface="+mn-lt"/>
              <a:ea typeface="+mn-ea"/>
              <a:cs typeface="+mn-cs"/>
            </a:endParaRPr>
          </a:p>
          <a:p>
            <a:pPr algn="l" defTabSz="863600">
              <a:buSzPct val="85000"/>
            </a:pPr>
            <a:r>
              <a:rPr lang="en-US" altLang="zh-CN" sz="1585" b="1" kern="1200" baseline="0">
                <a:solidFill>
                  <a:srgbClr val="FF9900"/>
                </a:solidFill>
                <a:latin typeface="宋体" panose="02010600030101010101" pitchFamily="2" charset="-122"/>
                <a:ea typeface="+mn-ea"/>
                <a:cs typeface="+mn-cs"/>
              </a:rPr>
              <a:t>▲</a:t>
            </a:r>
            <a:r>
              <a:rPr lang="zh-CN" altLang="en-US" sz="1585" b="1" kern="1200" baseline="0" dirty="0">
                <a:solidFill>
                  <a:srgbClr val="663300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鼓励性的评价语如：</a:t>
            </a:r>
            <a:endParaRPr lang="zh-CN" altLang="en-US" sz="1585" b="1" kern="1200" baseline="0" dirty="0">
              <a:solidFill>
                <a:srgbClr val="663300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algn="l" defTabSz="863600">
              <a:buSzPct val="85000"/>
            </a:pPr>
            <a:r>
              <a:rPr lang="zh-CN" altLang="en-US" sz="1585" b="1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    你的想象力丰富，如果构图方面加强些，我想画得会更好。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+mn-lt"/>
                <a:ea typeface="+mn-ea"/>
                <a:cs typeface="+mn-cs"/>
              </a:rPr>
              <a:t> </a:t>
            </a:r>
            <a:endParaRPr lang="zh-CN" altLang="en-US" sz="1585" b="1" kern="1200" baseline="0" dirty="0">
              <a:solidFill>
                <a:srgbClr val="990000"/>
              </a:solidFill>
              <a:latin typeface="+mn-lt"/>
              <a:ea typeface="+mn-ea"/>
              <a:cs typeface="+mn-cs"/>
            </a:endParaRPr>
          </a:p>
          <a:p>
            <a:pPr algn="l" defTabSz="863600">
              <a:buSzPct val="85000"/>
            </a:pPr>
            <a:r>
              <a:rPr lang="en-US" altLang="zh-CN" sz="1585" b="1" kern="1200" baseline="0" dirty="0">
                <a:solidFill>
                  <a:srgbClr val="33CC33"/>
                </a:solidFill>
                <a:latin typeface="宋体" panose="02010600030101010101" pitchFamily="2" charset="-122"/>
                <a:ea typeface="+mn-ea"/>
                <a:cs typeface="+mn-cs"/>
              </a:rPr>
              <a:t>▲</a:t>
            </a:r>
            <a:r>
              <a:rPr lang="zh-CN" altLang="en-US" sz="1585" b="1" kern="1200" baseline="0" dirty="0">
                <a:solidFill>
                  <a:srgbClr val="663300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可行性的激励评价语如：</a:t>
            </a:r>
            <a:endParaRPr lang="zh-CN" altLang="en-US" sz="1585" b="1" kern="1200" baseline="0" dirty="0">
              <a:solidFill>
                <a:srgbClr val="663300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algn="l" defTabSz="863600">
              <a:buSzPct val="85000"/>
            </a:pPr>
            <a:r>
              <a:rPr lang="zh-CN" altLang="en-US" sz="1585" b="1" kern="1200" baseline="0" dirty="0">
                <a:solidFill>
                  <a:srgbClr val="990000"/>
                </a:solidFill>
                <a:latin typeface="宋体" panose="02010600030101010101" pitchFamily="2" charset="-122"/>
                <a:ea typeface="+mn-ea"/>
                <a:cs typeface="+mn-cs"/>
              </a:rPr>
              <a:t>    老师惊奇地发现你的画有了进步，如果构图上再下点功夫些，你的画一定能画得更好。</a:t>
            </a:r>
            <a:r>
              <a:rPr lang="zh-CN" altLang="en-US" sz="1585" b="1" kern="1200" baseline="0" dirty="0">
                <a:solidFill>
                  <a:srgbClr val="990000"/>
                </a:solidFill>
                <a:latin typeface="+mn-lt"/>
                <a:ea typeface="+mn-ea"/>
                <a:cs typeface="+mn-cs"/>
              </a:rPr>
              <a:t> </a:t>
            </a:r>
            <a:endParaRPr lang="zh-CN" altLang="en-US" sz="1585" b="1" kern="1200" baseline="0">
              <a:solidFill>
                <a:srgbClr val="99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3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058096" y="4629402"/>
            <a:ext cx="1716180" cy="356593"/>
          </a:xfrm>
        </p:spPr>
        <p:txBody>
          <a:bodyPr lIns="68572" tIns="34285" rIns="68572" bIns="34285" anchor="t"/>
          <a:lstStyle>
            <a:lvl1pPr marL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r" defTabSz="863600"/>
            <a:fld id="{9A0DB2DC-4C9A-4742-B13C-FB6460FD3503}" type="slidenum">
              <a:rPr lang="zh-CN" altLang="en-US" sz="1030" dirty="0">
                <a:latin typeface="Arial" panose="020B0604020202020204" pitchFamily="34" charset="0"/>
                <a:ea typeface="宋体" panose="02010600030101010101" pitchFamily="2" charset="-122"/>
              </a:rPr>
            </a:fld>
            <a:endParaRPr lang="zh-CN" altLang="en-US" sz="103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8436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86346" y="4629402"/>
            <a:ext cx="2171056" cy="356593"/>
          </a:xfrm>
        </p:spPr>
        <p:txBody>
          <a:bodyPr lIns="68572" tIns="34285" rIns="68572" bIns="34285" anchor="t"/>
          <a:lstStyle>
            <a:lvl1pPr marL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defTabSz="863600"/>
            <a:r>
              <a:rPr lang="zh-CN" altLang="en-US" sz="1030" dirty="0">
                <a:latin typeface="Arial" panose="020B0604020202020204" pitchFamily="34" charset="0"/>
                <a:ea typeface="宋体" panose="02010600030101010101" pitchFamily="2" charset="-122"/>
              </a:rPr>
              <a:t>ppt课件</a:t>
            </a:r>
            <a:endParaRPr lang="zh-CN" altLang="en-US" sz="103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>
    <p:blinds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/>
          <p:nvPr/>
        </p:nvSpPr>
        <p:spPr>
          <a:xfrm>
            <a:off x="6680200" y="551815"/>
            <a:ext cx="1776730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28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束语：</a:t>
            </a:r>
            <a:endParaRPr lang="en-US" altLang="zh-CN" sz="28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/>
          <p:cNvGrpSpPr>
            <a:grpSpLocks noChangeAspect="1"/>
          </p:cNvGrpSpPr>
          <p:nvPr/>
        </p:nvGrpSpPr>
        <p:grpSpPr>
          <a:xfrm>
            <a:off x="1135050" y="1238853"/>
            <a:ext cx="3210788" cy="3904647"/>
            <a:chOff x="1141364" y="649312"/>
            <a:chExt cx="4235521" cy="5150844"/>
          </a:xfrm>
        </p:grpSpPr>
        <p:sp>
          <p:nvSpPr>
            <p:cNvPr id="9" name="任意多边形 8"/>
            <p:cNvSpPr/>
            <p:nvPr/>
          </p:nvSpPr>
          <p:spPr>
            <a:xfrm>
              <a:off x="1491356" y="1307806"/>
              <a:ext cx="3638574" cy="4492350"/>
            </a:xfrm>
            <a:custGeom>
              <a:avLst/>
              <a:gdLst>
                <a:gd name="connsiteX0" fmla="*/ 1743740 w 3742661"/>
                <a:gd name="connsiteY0" fmla="*/ 4476307 h 4476307"/>
                <a:gd name="connsiteX1" fmla="*/ 1796903 w 3742661"/>
                <a:gd name="connsiteY1" fmla="*/ 3785190 h 4476307"/>
                <a:gd name="connsiteX2" fmla="*/ 1307805 w 3742661"/>
                <a:gd name="connsiteY2" fmla="*/ 3381153 h 4476307"/>
                <a:gd name="connsiteX3" fmla="*/ 31898 w 3742661"/>
                <a:gd name="connsiteY3" fmla="*/ 2945218 h 4476307"/>
                <a:gd name="connsiteX4" fmla="*/ 1127052 w 3742661"/>
                <a:gd name="connsiteY4" fmla="*/ 3242930 h 4476307"/>
                <a:gd name="connsiteX5" fmla="*/ 393405 w 3742661"/>
                <a:gd name="connsiteY5" fmla="*/ 2456121 h 4476307"/>
                <a:gd name="connsiteX6" fmla="*/ 1775638 w 3742661"/>
                <a:gd name="connsiteY6" fmla="*/ 3519376 h 4476307"/>
                <a:gd name="connsiteX7" fmla="*/ 1679945 w 3742661"/>
                <a:gd name="connsiteY7" fmla="*/ 2392325 h 4476307"/>
                <a:gd name="connsiteX8" fmla="*/ 0 w 3742661"/>
                <a:gd name="connsiteY8" fmla="*/ 754911 h 4476307"/>
                <a:gd name="connsiteX9" fmla="*/ 988828 w 3742661"/>
                <a:gd name="connsiteY9" fmla="*/ 1924493 h 4476307"/>
                <a:gd name="connsiteX10" fmla="*/ 1137684 w 3742661"/>
                <a:gd name="connsiteY10" fmla="*/ 861237 h 4476307"/>
                <a:gd name="connsiteX11" fmla="*/ 1222745 w 3742661"/>
                <a:gd name="connsiteY11" fmla="*/ 2062716 h 4476307"/>
                <a:gd name="connsiteX12" fmla="*/ 1690577 w 3742661"/>
                <a:gd name="connsiteY12" fmla="*/ 2190307 h 4476307"/>
                <a:gd name="connsiteX13" fmla="*/ 1956391 w 3742661"/>
                <a:gd name="connsiteY13" fmla="*/ 0 h 4476307"/>
                <a:gd name="connsiteX14" fmla="*/ 2083982 w 3742661"/>
                <a:gd name="connsiteY14" fmla="*/ 978195 h 4476307"/>
                <a:gd name="connsiteX15" fmla="*/ 1881963 w 3742661"/>
                <a:gd name="connsiteY15" fmla="*/ 2232837 h 4476307"/>
                <a:gd name="connsiteX16" fmla="*/ 2041452 w 3742661"/>
                <a:gd name="connsiteY16" fmla="*/ 3030279 h 4476307"/>
                <a:gd name="connsiteX17" fmla="*/ 2647507 w 3742661"/>
                <a:gd name="connsiteY17" fmla="*/ 2519916 h 4476307"/>
                <a:gd name="connsiteX18" fmla="*/ 2849526 w 3742661"/>
                <a:gd name="connsiteY18" fmla="*/ 1307804 h 4476307"/>
                <a:gd name="connsiteX19" fmla="*/ 2838893 w 3742661"/>
                <a:gd name="connsiteY19" fmla="*/ 2371060 h 4476307"/>
                <a:gd name="connsiteX20" fmla="*/ 3742661 w 3742661"/>
                <a:gd name="connsiteY20" fmla="*/ 1148316 h 4476307"/>
                <a:gd name="connsiteX21" fmla="*/ 2222205 w 3742661"/>
                <a:gd name="connsiteY21" fmla="*/ 3370521 h 4476307"/>
                <a:gd name="connsiteX22" fmla="*/ 2169042 w 3742661"/>
                <a:gd name="connsiteY22" fmla="*/ 3817088 h 4476307"/>
                <a:gd name="connsiteX23" fmla="*/ 3317358 w 3742661"/>
                <a:gd name="connsiteY23" fmla="*/ 3094074 h 4476307"/>
                <a:gd name="connsiteX24" fmla="*/ 2190307 w 3742661"/>
                <a:gd name="connsiteY24" fmla="*/ 4051004 h 4476307"/>
                <a:gd name="connsiteX25" fmla="*/ 2232838 w 3742661"/>
                <a:gd name="connsiteY25" fmla="*/ 4476307 h 4476307"/>
                <a:gd name="connsiteX26" fmla="*/ 1743740 w 3742661"/>
                <a:gd name="connsiteY26" fmla="*/ 4476307 h 4476307"/>
                <a:gd name="connsiteX0-1" fmla="*/ 1743740 w 3742661"/>
                <a:gd name="connsiteY0-2" fmla="*/ 4492350 h 4492350"/>
                <a:gd name="connsiteX1-3" fmla="*/ 1796903 w 3742661"/>
                <a:gd name="connsiteY1-4" fmla="*/ 3785190 h 4492350"/>
                <a:gd name="connsiteX2-5" fmla="*/ 1307805 w 3742661"/>
                <a:gd name="connsiteY2-6" fmla="*/ 3381153 h 4492350"/>
                <a:gd name="connsiteX3-7" fmla="*/ 31898 w 3742661"/>
                <a:gd name="connsiteY3-8" fmla="*/ 2945218 h 4492350"/>
                <a:gd name="connsiteX4-9" fmla="*/ 1127052 w 3742661"/>
                <a:gd name="connsiteY4-10" fmla="*/ 3242930 h 4492350"/>
                <a:gd name="connsiteX5-11" fmla="*/ 393405 w 3742661"/>
                <a:gd name="connsiteY5-12" fmla="*/ 2456121 h 4492350"/>
                <a:gd name="connsiteX6-13" fmla="*/ 1775638 w 3742661"/>
                <a:gd name="connsiteY6-14" fmla="*/ 3519376 h 4492350"/>
                <a:gd name="connsiteX7-15" fmla="*/ 1679945 w 3742661"/>
                <a:gd name="connsiteY7-16" fmla="*/ 2392325 h 4492350"/>
                <a:gd name="connsiteX8-17" fmla="*/ 0 w 3742661"/>
                <a:gd name="connsiteY8-18" fmla="*/ 754911 h 4492350"/>
                <a:gd name="connsiteX9-19" fmla="*/ 988828 w 3742661"/>
                <a:gd name="connsiteY9-20" fmla="*/ 1924493 h 4492350"/>
                <a:gd name="connsiteX10-21" fmla="*/ 1137684 w 3742661"/>
                <a:gd name="connsiteY10-22" fmla="*/ 861237 h 4492350"/>
                <a:gd name="connsiteX11-23" fmla="*/ 1222745 w 3742661"/>
                <a:gd name="connsiteY11-24" fmla="*/ 2062716 h 4492350"/>
                <a:gd name="connsiteX12-25" fmla="*/ 1690577 w 3742661"/>
                <a:gd name="connsiteY12-26" fmla="*/ 2190307 h 4492350"/>
                <a:gd name="connsiteX13-27" fmla="*/ 1956391 w 3742661"/>
                <a:gd name="connsiteY13-28" fmla="*/ 0 h 4492350"/>
                <a:gd name="connsiteX14-29" fmla="*/ 2083982 w 3742661"/>
                <a:gd name="connsiteY14-30" fmla="*/ 978195 h 4492350"/>
                <a:gd name="connsiteX15-31" fmla="*/ 1881963 w 3742661"/>
                <a:gd name="connsiteY15-32" fmla="*/ 2232837 h 4492350"/>
                <a:gd name="connsiteX16-33" fmla="*/ 2041452 w 3742661"/>
                <a:gd name="connsiteY16-34" fmla="*/ 3030279 h 4492350"/>
                <a:gd name="connsiteX17-35" fmla="*/ 2647507 w 3742661"/>
                <a:gd name="connsiteY17-36" fmla="*/ 2519916 h 4492350"/>
                <a:gd name="connsiteX18-37" fmla="*/ 2849526 w 3742661"/>
                <a:gd name="connsiteY18-38" fmla="*/ 1307804 h 4492350"/>
                <a:gd name="connsiteX19-39" fmla="*/ 2838893 w 3742661"/>
                <a:gd name="connsiteY19-40" fmla="*/ 2371060 h 4492350"/>
                <a:gd name="connsiteX20-41" fmla="*/ 3742661 w 3742661"/>
                <a:gd name="connsiteY20-42" fmla="*/ 1148316 h 4492350"/>
                <a:gd name="connsiteX21-43" fmla="*/ 2222205 w 3742661"/>
                <a:gd name="connsiteY21-44" fmla="*/ 3370521 h 4492350"/>
                <a:gd name="connsiteX22-45" fmla="*/ 2169042 w 3742661"/>
                <a:gd name="connsiteY22-46" fmla="*/ 3817088 h 4492350"/>
                <a:gd name="connsiteX23-47" fmla="*/ 3317358 w 3742661"/>
                <a:gd name="connsiteY23-48" fmla="*/ 3094074 h 4492350"/>
                <a:gd name="connsiteX24-49" fmla="*/ 2190307 w 3742661"/>
                <a:gd name="connsiteY24-50" fmla="*/ 4051004 h 4492350"/>
                <a:gd name="connsiteX25-51" fmla="*/ 2232838 w 3742661"/>
                <a:gd name="connsiteY25-52" fmla="*/ 4476307 h 4492350"/>
                <a:gd name="connsiteX26-53" fmla="*/ 1743740 w 3742661"/>
                <a:gd name="connsiteY26-54" fmla="*/ 4492350 h 4492350"/>
                <a:gd name="connsiteX0-55" fmla="*/ 1743740 w 3742661"/>
                <a:gd name="connsiteY0-56" fmla="*/ 4492350 h 4492350"/>
                <a:gd name="connsiteX1-57" fmla="*/ 1796903 w 3742661"/>
                <a:gd name="connsiteY1-58" fmla="*/ 3785190 h 4492350"/>
                <a:gd name="connsiteX2-59" fmla="*/ 1307805 w 3742661"/>
                <a:gd name="connsiteY2-60" fmla="*/ 3381153 h 4492350"/>
                <a:gd name="connsiteX3-61" fmla="*/ 31898 w 3742661"/>
                <a:gd name="connsiteY3-62" fmla="*/ 2945218 h 4492350"/>
                <a:gd name="connsiteX4-63" fmla="*/ 1127052 w 3742661"/>
                <a:gd name="connsiteY4-64" fmla="*/ 3242930 h 4492350"/>
                <a:gd name="connsiteX5-65" fmla="*/ 393405 w 3742661"/>
                <a:gd name="connsiteY5-66" fmla="*/ 2456121 h 4492350"/>
                <a:gd name="connsiteX6-67" fmla="*/ 1775638 w 3742661"/>
                <a:gd name="connsiteY6-68" fmla="*/ 3519376 h 4492350"/>
                <a:gd name="connsiteX7-69" fmla="*/ 1679945 w 3742661"/>
                <a:gd name="connsiteY7-70" fmla="*/ 2392325 h 4492350"/>
                <a:gd name="connsiteX8-71" fmla="*/ 0 w 3742661"/>
                <a:gd name="connsiteY8-72" fmla="*/ 754911 h 4492350"/>
                <a:gd name="connsiteX9-73" fmla="*/ 988828 w 3742661"/>
                <a:gd name="connsiteY9-74" fmla="*/ 1924493 h 4492350"/>
                <a:gd name="connsiteX10-75" fmla="*/ 1137684 w 3742661"/>
                <a:gd name="connsiteY10-76" fmla="*/ 861237 h 4492350"/>
                <a:gd name="connsiteX11-77" fmla="*/ 1222745 w 3742661"/>
                <a:gd name="connsiteY11-78" fmla="*/ 2062716 h 4492350"/>
                <a:gd name="connsiteX12-79" fmla="*/ 1690577 w 3742661"/>
                <a:gd name="connsiteY12-80" fmla="*/ 2190307 h 4492350"/>
                <a:gd name="connsiteX13-81" fmla="*/ 1956391 w 3742661"/>
                <a:gd name="connsiteY13-82" fmla="*/ 0 h 4492350"/>
                <a:gd name="connsiteX14-83" fmla="*/ 2083982 w 3742661"/>
                <a:gd name="connsiteY14-84" fmla="*/ 978195 h 4492350"/>
                <a:gd name="connsiteX15-85" fmla="*/ 1881963 w 3742661"/>
                <a:gd name="connsiteY15-86" fmla="*/ 2232837 h 4492350"/>
                <a:gd name="connsiteX16-87" fmla="*/ 2041452 w 3742661"/>
                <a:gd name="connsiteY16-88" fmla="*/ 3030279 h 4492350"/>
                <a:gd name="connsiteX17-89" fmla="*/ 2647507 w 3742661"/>
                <a:gd name="connsiteY17-90" fmla="*/ 2519916 h 4492350"/>
                <a:gd name="connsiteX18-91" fmla="*/ 2849526 w 3742661"/>
                <a:gd name="connsiteY18-92" fmla="*/ 1307804 h 4492350"/>
                <a:gd name="connsiteX19-93" fmla="*/ 2838893 w 3742661"/>
                <a:gd name="connsiteY19-94" fmla="*/ 2371060 h 4492350"/>
                <a:gd name="connsiteX20-95" fmla="*/ 3742661 w 3742661"/>
                <a:gd name="connsiteY20-96" fmla="*/ 1148316 h 4492350"/>
                <a:gd name="connsiteX21-97" fmla="*/ 2222205 w 3742661"/>
                <a:gd name="connsiteY21-98" fmla="*/ 3370521 h 4492350"/>
                <a:gd name="connsiteX22-99" fmla="*/ 2169042 w 3742661"/>
                <a:gd name="connsiteY22-100" fmla="*/ 3817088 h 4492350"/>
                <a:gd name="connsiteX23-101" fmla="*/ 3317358 w 3742661"/>
                <a:gd name="connsiteY23-102" fmla="*/ 3094074 h 4492350"/>
                <a:gd name="connsiteX24-103" fmla="*/ 2190307 w 3742661"/>
                <a:gd name="connsiteY24-104" fmla="*/ 4051004 h 4492350"/>
                <a:gd name="connsiteX25-105" fmla="*/ 2232838 w 3742661"/>
                <a:gd name="connsiteY25-106" fmla="*/ 4476307 h 4492350"/>
                <a:gd name="connsiteX26-107" fmla="*/ 2218194 w 3742661"/>
                <a:gd name="connsiteY26-108" fmla="*/ 4491415 h 4492350"/>
                <a:gd name="connsiteX27" fmla="*/ 1743740 w 3742661"/>
                <a:gd name="connsiteY27" fmla="*/ 4492350 h 4492350"/>
                <a:gd name="connsiteX0-109" fmla="*/ 1743740 w 3742661"/>
                <a:gd name="connsiteY0-110" fmla="*/ 4492350 h 4492350"/>
                <a:gd name="connsiteX1-111" fmla="*/ 1796903 w 3742661"/>
                <a:gd name="connsiteY1-112" fmla="*/ 3785190 h 4492350"/>
                <a:gd name="connsiteX2-113" fmla="*/ 1307805 w 3742661"/>
                <a:gd name="connsiteY2-114" fmla="*/ 3381153 h 4492350"/>
                <a:gd name="connsiteX3-115" fmla="*/ 31898 w 3742661"/>
                <a:gd name="connsiteY3-116" fmla="*/ 2945218 h 4492350"/>
                <a:gd name="connsiteX4-117" fmla="*/ 1127052 w 3742661"/>
                <a:gd name="connsiteY4-118" fmla="*/ 3242930 h 4492350"/>
                <a:gd name="connsiteX5-119" fmla="*/ 393405 w 3742661"/>
                <a:gd name="connsiteY5-120" fmla="*/ 2456121 h 4492350"/>
                <a:gd name="connsiteX6-121" fmla="*/ 1775638 w 3742661"/>
                <a:gd name="connsiteY6-122" fmla="*/ 3519376 h 4492350"/>
                <a:gd name="connsiteX7-123" fmla="*/ 1679945 w 3742661"/>
                <a:gd name="connsiteY7-124" fmla="*/ 2392325 h 4492350"/>
                <a:gd name="connsiteX8-125" fmla="*/ 0 w 3742661"/>
                <a:gd name="connsiteY8-126" fmla="*/ 754911 h 4492350"/>
                <a:gd name="connsiteX9-127" fmla="*/ 988828 w 3742661"/>
                <a:gd name="connsiteY9-128" fmla="*/ 1924493 h 4492350"/>
                <a:gd name="connsiteX10-129" fmla="*/ 1137684 w 3742661"/>
                <a:gd name="connsiteY10-130" fmla="*/ 861237 h 4492350"/>
                <a:gd name="connsiteX11-131" fmla="*/ 1222745 w 3742661"/>
                <a:gd name="connsiteY11-132" fmla="*/ 2062716 h 4492350"/>
                <a:gd name="connsiteX12-133" fmla="*/ 1690577 w 3742661"/>
                <a:gd name="connsiteY12-134" fmla="*/ 2190307 h 4492350"/>
                <a:gd name="connsiteX13-135" fmla="*/ 1956391 w 3742661"/>
                <a:gd name="connsiteY13-136" fmla="*/ 0 h 4492350"/>
                <a:gd name="connsiteX14-137" fmla="*/ 2083982 w 3742661"/>
                <a:gd name="connsiteY14-138" fmla="*/ 978195 h 4492350"/>
                <a:gd name="connsiteX15-139" fmla="*/ 1881963 w 3742661"/>
                <a:gd name="connsiteY15-140" fmla="*/ 2232837 h 4492350"/>
                <a:gd name="connsiteX16-141" fmla="*/ 2041452 w 3742661"/>
                <a:gd name="connsiteY16-142" fmla="*/ 3030279 h 4492350"/>
                <a:gd name="connsiteX17-143" fmla="*/ 2647507 w 3742661"/>
                <a:gd name="connsiteY17-144" fmla="*/ 2519916 h 4492350"/>
                <a:gd name="connsiteX18-145" fmla="*/ 2849526 w 3742661"/>
                <a:gd name="connsiteY18-146" fmla="*/ 1307804 h 4492350"/>
                <a:gd name="connsiteX19-147" fmla="*/ 2838893 w 3742661"/>
                <a:gd name="connsiteY19-148" fmla="*/ 2371060 h 4492350"/>
                <a:gd name="connsiteX20-149" fmla="*/ 3742661 w 3742661"/>
                <a:gd name="connsiteY20-150" fmla="*/ 1148316 h 4492350"/>
                <a:gd name="connsiteX21-151" fmla="*/ 2222205 w 3742661"/>
                <a:gd name="connsiteY21-152" fmla="*/ 3370521 h 4492350"/>
                <a:gd name="connsiteX22-153" fmla="*/ 2169042 w 3742661"/>
                <a:gd name="connsiteY22-154" fmla="*/ 3817088 h 4492350"/>
                <a:gd name="connsiteX23-155" fmla="*/ 3317358 w 3742661"/>
                <a:gd name="connsiteY23-156" fmla="*/ 3094074 h 4492350"/>
                <a:gd name="connsiteX24-157" fmla="*/ 2190307 w 3742661"/>
                <a:gd name="connsiteY24-158" fmla="*/ 4051004 h 4492350"/>
                <a:gd name="connsiteX25-159" fmla="*/ 2232838 w 3742661"/>
                <a:gd name="connsiteY25-160" fmla="*/ 4476307 h 4492350"/>
                <a:gd name="connsiteX26-161" fmla="*/ 2218194 w 3742661"/>
                <a:gd name="connsiteY26-162" fmla="*/ 4491415 h 4492350"/>
                <a:gd name="connsiteX27-163" fmla="*/ 1743740 w 3742661"/>
                <a:gd name="connsiteY27-164" fmla="*/ 4492350 h 4492350"/>
                <a:gd name="connsiteX0-165" fmla="*/ 1743740 w 3742661"/>
                <a:gd name="connsiteY0-166" fmla="*/ 4492350 h 4492350"/>
                <a:gd name="connsiteX1-167" fmla="*/ 1796903 w 3742661"/>
                <a:gd name="connsiteY1-168" fmla="*/ 3785190 h 4492350"/>
                <a:gd name="connsiteX2-169" fmla="*/ 1307805 w 3742661"/>
                <a:gd name="connsiteY2-170" fmla="*/ 3381153 h 4492350"/>
                <a:gd name="connsiteX3-171" fmla="*/ 31898 w 3742661"/>
                <a:gd name="connsiteY3-172" fmla="*/ 2945218 h 4492350"/>
                <a:gd name="connsiteX4-173" fmla="*/ 1127052 w 3742661"/>
                <a:gd name="connsiteY4-174" fmla="*/ 3242930 h 4492350"/>
                <a:gd name="connsiteX5-175" fmla="*/ 393405 w 3742661"/>
                <a:gd name="connsiteY5-176" fmla="*/ 2456121 h 4492350"/>
                <a:gd name="connsiteX6-177" fmla="*/ 1775638 w 3742661"/>
                <a:gd name="connsiteY6-178" fmla="*/ 3519376 h 4492350"/>
                <a:gd name="connsiteX7-179" fmla="*/ 1679945 w 3742661"/>
                <a:gd name="connsiteY7-180" fmla="*/ 2392325 h 4492350"/>
                <a:gd name="connsiteX8-181" fmla="*/ 0 w 3742661"/>
                <a:gd name="connsiteY8-182" fmla="*/ 754911 h 4492350"/>
                <a:gd name="connsiteX9-183" fmla="*/ 988828 w 3742661"/>
                <a:gd name="connsiteY9-184" fmla="*/ 1924493 h 4492350"/>
                <a:gd name="connsiteX10-185" fmla="*/ 1137684 w 3742661"/>
                <a:gd name="connsiteY10-186" fmla="*/ 861237 h 4492350"/>
                <a:gd name="connsiteX11-187" fmla="*/ 1222745 w 3742661"/>
                <a:gd name="connsiteY11-188" fmla="*/ 2062716 h 4492350"/>
                <a:gd name="connsiteX12-189" fmla="*/ 1690577 w 3742661"/>
                <a:gd name="connsiteY12-190" fmla="*/ 2190307 h 4492350"/>
                <a:gd name="connsiteX13-191" fmla="*/ 1956391 w 3742661"/>
                <a:gd name="connsiteY13-192" fmla="*/ 0 h 4492350"/>
                <a:gd name="connsiteX14-193" fmla="*/ 2083982 w 3742661"/>
                <a:gd name="connsiteY14-194" fmla="*/ 978195 h 4492350"/>
                <a:gd name="connsiteX15-195" fmla="*/ 1881963 w 3742661"/>
                <a:gd name="connsiteY15-196" fmla="*/ 2232837 h 4492350"/>
                <a:gd name="connsiteX16-197" fmla="*/ 2041452 w 3742661"/>
                <a:gd name="connsiteY16-198" fmla="*/ 3030279 h 4492350"/>
                <a:gd name="connsiteX17-199" fmla="*/ 2647507 w 3742661"/>
                <a:gd name="connsiteY17-200" fmla="*/ 2519916 h 4492350"/>
                <a:gd name="connsiteX18-201" fmla="*/ 2849526 w 3742661"/>
                <a:gd name="connsiteY18-202" fmla="*/ 1307804 h 4492350"/>
                <a:gd name="connsiteX19-203" fmla="*/ 2838893 w 3742661"/>
                <a:gd name="connsiteY19-204" fmla="*/ 2371060 h 4492350"/>
                <a:gd name="connsiteX20-205" fmla="*/ 3742661 w 3742661"/>
                <a:gd name="connsiteY20-206" fmla="*/ 1148316 h 4492350"/>
                <a:gd name="connsiteX21-207" fmla="*/ 2222205 w 3742661"/>
                <a:gd name="connsiteY21-208" fmla="*/ 3370521 h 4492350"/>
                <a:gd name="connsiteX22-209" fmla="*/ 2169042 w 3742661"/>
                <a:gd name="connsiteY22-210" fmla="*/ 3817088 h 4492350"/>
                <a:gd name="connsiteX23-211" fmla="*/ 3317358 w 3742661"/>
                <a:gd name="connsiteY23-212" fmla="*/ 3094074 h 4492350"/>
                <a:gd name="connsiteX24-213" fmla="*/ 2190307 w 3742661"/>
                <a:gd name="connsiteY24-214" fmla="*/ 4051004 h 4492350"/>
                <a:gd name="connsiteX25-215" fmla="*/ 2232838 w 3742661"/>
                <a:gd name="connsiteY25-216" fmla="*/ 4476307 h 4492350"/>
                <a:gd name="connsiteX26-217" fmla="*/ 2218194 w 3742661"/>
                <a:gd name="connsiteY26-218" fmla="*/ 4491415 h 4492350"/>
                <a:gd name="connsiteX27-219" fmla="*/ 1743740 w 3742661"/>
                <a:gd name="connsiteY27-220" fmla="*/ 4492350 h 4492350"/>
                <a:gd name="connsiteX0-221" fmla="*/ 1743740 w 3742661"/>
                <a:gd name="connsiteY0-222" fmla="*/ 4492350 h 4492350"/>
                <a:gd name="connsiteX1-223" fmla="*/ 1796903 w 3742661"/>
                <a:gd name="connsiteY1-224" fmla="*/ 3785190 h 4492350"/>
                <a:gd name="connsiteX2-225" fmla="*/ 1307805 w 3742661"/>
                <a:gd name="connsiteY2-226" fmla="*/ 3381153 h 4492350"/>
                <a:gd name="connsiteX3-227" fmla="*/ 31898 w 3742661"/>
                <a:gd name="connsiteY3-228" fmla="*/ 2945218 h 4492350"/>
                <a:gd name="connsiteX4-229" fmla="*/ 1127052 w 3742661"/>
                <a:gd name="connsiteY4-230" fmla="*/ 3242930 h 4492350"/>
                <a:gd name="connsiteX5-231" fmla="*/ 393405 w 3742661"/>
                <a:gd name="connsiteY5-232" fmla="*/ 2456121 h 4492350"/>
                <a:gd name="connsiteX6-233" fmla="*/ 1775638 w 3742661"/>
                <a:gd name="connsiteY6-234" fmla="*/ 3519376 h 4492350"/>
                <a:gd name="connsiteX7-235" fmla="*/ 1679945 w 3742661"/>
                <a:gd name="connsiteY7-236" fmla="*/ 2392325 h 4492350"/>
                <a:gd name="connsiteX8-237" fmla="*/ 0 w 3742661"/>
                <a:gd name="connsiteY8-238" fmla="*/ 754911 h 4492350"/>
                <a:gd name="connsiteX9-239" fmla="*/ 988828 w 3742661"/>
                <a:gd name="connsiteY9-240" fmla="*/ 1924493 h 4492350"/>
                <a:gd name="connsiteX10-241" fmla="*/ 1137684 w 3742661"/>
                <a:gd name="connsiteY10-242" fmla="*/ 861237 h 4492350"/>
                <a:gd name="connsiteX11-243" fmla="*/ 1222745 w 3742661"/>
                <a:gd name="connsiteY11-244" fmla="*/ 2062716 h 4492350"/>
                <a:gd name="connsiteX12-245" fmla="*/ 1690577 w 3742661"/>
                <a:gd name="connsiteY12-246" fmla="*/ 2190307 h 4492350"/>
                <a:gd name="connsiteX13-247" fmla="*/ 1956391 w 3742661"/>
                <a:gd name="connsiteY13-248" fmla="*/ 0 h 4492350"/>
                <a:gd name="connsiteX14-249" fmla="*/ 2083982 w 3742661"/>
                <a:gd name="connsiteY14-250" fmla="*/ 978195 h 4492350"/>
                <a:gd name="connsiteX15-251" fmla="*/ 1881963 w 3742661"/>
                <a:gd name="connsiteY15-252" fmla="*/ 2232837 h 4492350"/>
                <a:gd name="connsiteX16-253" fmla="*/ 2041452 w 3742661"/>
                <a:gd name="connsiteY16-254" fmla="*/ 3030279 h 4492350"/>
                <a:gd name="connsiteX17-255" fmla="*/ 2647507 w 3742661"/>
                <a:gd name="connsiteY17-256" fmla="*/ 2519916 h 4492350"/>
                <a:gd name="connsiteX18-257" fmla="*/ 2849526 w 3742661"/>
                <a:gd name="connsiteY18-258" fmla="*/ 1307804 h 4492350"/>
                <a:gd name="connsiteX19-259" fmla="*/ 2838893 w 3742661"/>
                <a:gd name="connsiteY19-260" fmla="*/ 2371060 h 4492350"/>
                <a:gd name="connsiteX20-261" fmla="*/ 3742661 w 3742661"/>
                <a:gd name="connsiteY20-262" fmla="*/ 1148316 h 4492350"/>
                <a:gd name="connsiteX21-263" fmla="*/ 2222205 w 3742661"/>
                <a:gd name="connsiteY21-264" fmla="*/ 3370521 h 4492350"/>
                <a:gd name="connsiteX22-265" fmla="*/ 2169042 w 3742661"/>
                <a:gd name="connsiteY22-266" fmla="*/ 3817088 h 4492350"/>
                <a:gd name="connsiteX23-267" fmla="*/ 3317358 w 3742661"/>
                <a:gd name="connsiteY23-268" fmla="*/ 3094074 h 4492350"/>
                <a:gd name="connsiteX24-269" fmla="*/ 2190307 w 3742661"/>
                <a:gd name="connsiteY24-270" fmla="*/ 4051004 h 4492350"/>
                <a:gd name="connsiteX25-271" fmla="*/ 2232838 w 3742661"/>
                <a:gd name="connsiteY25-272" fmla="*/ 4476307 h 4492350"/>
                <a:gd name="connsiteX26-273" fmla="*/ 2218194 w 3742661"/>
                <a:gd name="connsiteY26-274" fmla="*/ 4491415 h 4492350"/>
                <a:gd name="connsiteX27-275" fmla="*/ 1743740 w 3742661"/>
                <a:gd name="connsiteY27-276" fmla="*/ 4492350 h 4492350"/>
                <a:gd name="connsiteX0-277" fmla="*/ 1743740 w 3742661"/>
                <a:gd name="connsiteY0-278" fmla="*/ 4492350 h 4492350"/>
                <a:gd name="connsiteX1-279" fmla="*/ 1796903 w 3742661"/>
                <a:gd name="connsiteY1-280" fmla="*/ 3785190 h 4492350"/>
                <a:gd name="connsiteX2-281" fmla="*/ 1307805 w 3742661"/>
                <a:gd name="connsiteY2-282" fmla="*/ 3381153 h 4492350"/>
                <a:gd name="connsiteX3-283" fmla="*/ 31898 w 3742661"/>
                <a:gd name="connsiteY3-284" fmla="*/ 2945218 h 4492350"/>
                <a:gd name="connsiteX4-285" fmla="*/ 1127052 w 3742661"/>
                <a:gd name="connsiteY4-286" fmla="*/ 3242930 h 4492350"/>
                <a:gd name="connsiteX5-287" fmla="*/ 393405 w 3742661"/>
                <a:gd name="connsiteY5-288" fmla="*/ 2456121 h 4492350"/>
                <a:gd name="connsiteX6-289" fmla="*/ 1775638 w 3742661"/>
                <a:gd name="connsiteY6-290" fmla="*/ 3519376 h 4492350"/>
                <a:gd name="connsiteX7-291" fmla="*/ 1679945 w 3742661"/>
                <a:gd name="connsiteY7-292" fmla="*/ 2392325 h 4492350"/>
                <a:gd name="connsiteX8-293" fmla="*/ 0 w 3742661"/>
                <a:gd name="connsiteY8-294" fmla="*/ 754911 h 4492350"/>
                <a:gd name="connsiteX9-295" fmla="*/ 988828 w 3742661"/>
                <a:gd name="connsiteY9-296" fmla="*/ 1924493 h 4492350"/>
                <a:gd name="connsiteX10-297" fmla="*/ 1137684 w 3742661"/>
                <a:gd name="connsiteY10-298" fmla="*/ 861237 h 4492350"/>
                <a:gd name="connsiteX11-299" fmla="*/ 1222745 w 3742661"/>
                <a:gd name="connsiteY11-300" fmla="*/ 2062716 h 4492350"/>
                <a:gd name="connsiteX12-301" fmla="*/ 1690577 w 3742661"/>
                <a:gd name="connsiteY12-302" fmla="*/ 2190307 h 4492350"/>
                <a:gd name="connsiteX13-303" fmla="*/ 1956391 w 3742661"/>
                <a:gd name="connsiteY13-304" fmla="*/ 0 h 4492350"/>
                <a:gd name="connsiteX14-305" fmla="*/ 2083982 w 3742661"/>
                <a:gd name="connsiteY14-306" fmla="*/ 978195 h 4492350"/>
                <a:gd name="connsiteX15-307" fmla="*/ 1881963 w 3742661"/>
                <a:gd name="connsiteY15-308" fmla="*/ 2232837 h 4492350"/>
                <a:gd name="connsiteX16-309" fmla="*/ 2041452 w 3742661"/>
                <a:gd name="connsiteY16-310" fmla="*/ 3030279 h 4492350"/>
                <a:gd name="connsiteX17-311" fmla="*/ 2647507 w 3742661"/>
                <a:gd name="connsiteY17-312" fmla="*/ 2519916 h 4492350"/>
                <a:gd name="connsiteX18-313" fmla="*/ 2849526 w 3742661"/>
                <a:gd name="connsiteY18-314" fmla="*/ 1307804 h 4492350"/>
                <a:gd name="connsiteX19-315" fmla="*/ 2838893 w 3742661"/>
                <a:gd name="connsiteY19-316" fmla="*/ 2371060 h 4492350"/>
                <a:gd name="connsiteX20-317" fmla="*/ 3742661 w 3742661"/>
                <a:gd name="connsiteY20-318" fmla="*/ 1148316 h 4492350"/>
                <a:gd name="connsiteX21-319" fmla="*/ 2222205 w 3742661"/>
                <a:gd name="connsiteY21-320" fmla="*/ 3370521 h 4492350"/>
                <a:gd name="connsiteX22-321" fmla="*/ 2169042 w 3742661"/>
                <a:gd name="connsiteY22-322" fmla="*/ 3817088 h 4492350"/>
                <a:gd name="connsiteX23-323" fmla="*/ 3317358 w 3742661"/>
                <a:gd name="connsiteY23-324" fmla="*/ 3094074 h 4492350"/>
                <a:gd name="connsiteX24-325" fmla="*/ 2194317 w 3742661"/>
                <a:gd name="connsiteY24-326" fmla="*/ 4030951 h 4492350"/>
                <a:gd name="connsiteX25-327" fmla="*/ 2232838 w 3742661"/>
                <a:gd name="connsiteY25-328" fmla="*/ 4476307 h 4492350"/>
                <a:gd name="connsiteX26-329" fmla="*/ 2218194 w 3742661"/>
                <a:gd name="connsiteY26-330" fmla="*/ 4491415 h 4492350"/>
                <a:gd name="connsiteX27-331" fmla="*/ 1743740 w 3742661"/>
                <a:gd name="connsiteY27-332" fmla="*/ 4492350 h 4492350"/>
                <a:gd name="connsiteX0-333" fmla="*/ 1743740 w 3742661"/>
                <a:gd name="connsiteY0-334" fmla="*/ 4492350 h 4492350"/>
                <a:gd name="connsiteX1-335" fmla="*/ 1796903 w 3742661"/>
                <a:gd name="connsiteY1-336" fmla="*/ 3785190 h 4492350"/>
                <a:gd name="connsiteX2-337" fmla="*/ 1307805 w 3742661"/>
                <a:gd name="connsiteY2-338" fmla="*/ 3381153 h 4492350"/>
                <a:gd name="connsiteX3-339" fmla="*/ 31898 w 3742661"/>
                <a:gd name="connsiteY3-340" fmla="*/ 2945218 h 4492350"/>
                <a:gd name="connsiteX4-341" fmla="*/ 1127052 w 3742661"/>
                <a:gd name="connsiteY4-342" fmla="*/ 3242930 h 4492350"/>
                <a:gd name="connsiteX5-343" fmla="*/ 393405 w 3742661"/>
                <a:gd name="connsiteY5-344" fmla="*/ 2456121 h 4492350"/>
                <a:gd name="connsiteX6-345" fmla="*/ 1775638 w 3742661"/>
                <a:gd name="connsiteY6-346" fmla="*/ 3519376 h 4492350"/>
                <a:gd name="connsiteX7-347" fmla="*/ 1679945 w 3742661"/>
                <a:gd name="connsiteY7-348" fmla="*/ 2392325 h 4492350"/>
                <a:gd name="connsiteX8-349" fmla="*/ 0 w 3742661"/>
                <a:gd name="connsiteY8-350" fmla="*/ 754911 h 4492350"/>
                <a:gd name="connsiteX9-351" fmla="*/ 988828 w 3742661"/>
                <a:gd name="connsiteY9-352" fmla="*/ 1924493 h 4492350"/>
                <a:gd name="connsiteX10-353" fmla="*/ 1137684 w 3742661"/>
                <a:gd name="connsiteY10-354" fmla="*/ 861237 h 4492350"/>
                <a:gd name="connsiteX11-355" fmla="*/ 1222745 w 3742661"/>
                <a:gd name="connsiteY11-356" fmla="*/ 2062716 h 4492350"/>
                <a:gd name="connsiteX12-357" fmla="*/ 1690577 w 3742661"/>
                <a:gd name="connsiteY12-358" fmla="*/ 2190307 h 4492350"/>
                <a:gd name="connsiteX13-359" fmla="*/ 1956391 w 3742661"/>
                <a:gd name="connsiteY13-360" fmla="*/ 0 h 4492350"/>
                <a:gd name="connsiteX14-361" fmla="*/ 2083982 w 3742661"/>
                <a:gd name="connsiteY14-362" fmla="*/ 978195 h 4492350"/>
                <a:gd name="connsiteX15-363" fmla="*/ 1881963 w 3742661"/>
                <a:gd name="connsiteY15-364" fmla="*/ 2232837 h 4492350"/>
                <a:gd name="connsiteX16-365" fmla="*/ 2041452 w 3742661"/>
                <a:gd name="connsiteY16-366" fmla="*/ 3030279 h 4492350"/>
                <a:gd name="connsiteX17-367" fmla="*/ 2647507 w 3742661"/>
                <a:gd name="connsiteY17-368" fmla="*/ 2519916 h 4492350"/>
                <a:gd name="connsiteX18-369" fmla="*/ 2849526 w 3742661"/>
                <a:gd name="connsiteY18-370" fmla="*/ 1307804 h 4492350"/>
                <a:gd name="connsiteX19-371" fmla="*/ 2838893 w 3742661"/>
                <a:gd name="connsiteY19-372" fmla="*/ 2371060 h 4492350"/>
                <a:gd name="connsiteX20-373" fmla="*/ 3742661 w 3742661"/>
                <a:gd name="connsiteY20-374" fmla="*/ 1148316 h 4492350"/>
                <a:gd name="connsiteX21-375" fmla="*/ 2222205 w 3742661"/>
                <a:gd name="connsiteY21-376" fmla="*/ 3370521 h 4492350"/>
                <a:gd name="connsiteX22-377" fmla="*/ 2169042 w 3742661"/>
                <a:gd name="connsiteY22-378" fmla="*/ 3817088 h 4492350"/>
                <a:gd name="connsiteX23-379" fmla="*/ 3317358 w 3742661"/>
                <a:gd name="connsiteY23-380" fmla="*/ 3094074 h 4492350"/>
                <a:gd name="connsiteX24-381" fmla="*/ 2194317 w 3742661"/>
                <a:gd name="connsiteY24-382" fmla="*/ 4030951 h 4492350"/>
                <a:gd name="connsiteX25-383" fmla="*/ 2232838 w 3742661"/>
                <a:gd name="connsiteY25-384" fmla="*/ 4476307 h 4492350"/>
                <a:gd name="connsiteX26-385" fmla="*/ 2218194 w 3742661"/>
                <a:gd name="connsiteY26-386" fmla="*/ 4491415 h 4492350"/>
                <a:gd name="connsiteX27-387" fmla="*/ 1743740 w 3742661"/>
                <a:gd name="connsiteY27-388" fmla="*/ 4492350 h 4492350"/>
                <a:gd name="connsiteX0-389" fmla="*/ 1743740 w 3742661"/>
                <a:gd name="connsiteY0-390" fmla="*/ 4492350 h 4492350"/>
                <a:gd name="connsiteX1-391" fmla="*/ 1796903 w 3742661"/>
                <a:gd name="connsiteY1-392" fmla="*/ 3785190 h 4492350"/>
                <a:gd name="connsiteX2-393" fmla="*/ 1307805 w 3742661"/>
                <a:gd name="connsiteY2-394" fmla="*/ 3381153 h 4492350"/>
                <a:gd name="connsiteX3-395" fmla="*/ 31898 w 3742661"/>
                <a:gd name="connsiteY3-396" fmla="*/ 2945218 h 4492350"/>
                <a:gd name="connsiteX4-397" fmla="*/ 1127052 w 3742661"/>
                <a:gd name="connsiteY4-398" fmla="*/ 3242930 h 4492350"/>
                <a:gd name="connsiteX5-399" fmla="*/ 393405 w 3742661"/>
                <a:gd name="connsiteY5-400" fmla="*/ 2456121 h 4492350"/>
                <a:gd name="connsiteX6-401" fmla="*/ 1775638 w 3742661"/>
                <a:gd name="connsiteY6-402" fmla="*/ 3519376 h 4492350"/>
                <a:gd name="connsiteX7-403" fmla="*/ 1679945 w 3742661"/>
                <a:gd name="connsiteY7-404" fmla="*/ 2392325 h 4492350"/>
                <a:gd name="connsiteX8-405" fmla="*/ 0 w 3742661"/>
                <a:gd name="connsiteY8-406" fmla="*/ 754911 h 4492350"/>
                <a:gd name="connsiteX9-407" fmla="*/ 988828 w 3742661"/>
                <a:gd name="connsiteY9-408" fmla="*/ 1924493 h 4492350"/>
                <a:gd name="connsiteX10-409" fmla="*/ 1137684 w 3742661"/>
                <a:gd name="connsiteY10-410" fmla="*/ 861237 h 4492350"/>
                <a:gd name="connsiteX11-411" fmla="*/ 1222745 w 3742661"/>
                <a:gd name="connsiteY11-412" fmla="*/ 2062716 h 4492350"/>
                <a:gd name="connsiteX12-413" fmla="*/ 1690577 w 3742661"/>
                <a:gd name="connsiteY12-414" fmla="*/ 2190307 h 4492350"/>
                <a:gd name="connsiteX13-415" fmla="*/ 1956391 w 3742661"/>
                <a:gd name="connsiteY13-416" fmla="*/ 0 h 4492350"/>
                <a:gd name="connsiteX14-417" fmla="*/ 2083982 w 3742661"/>
                <a:gd name="connsiteY14-418" fmla="*/ 978195 h 4492350"/>
                <a:gd name="connsiteX15-419" fmla="*/ 1881963 w 3742661"/>
                <a:gd name="connsiteY15-420" fmla="*/ 2232837 h 4492350"/>
                <a:gd name="connsiteX16-421" fmla="*/ 2041452 w 3742661"/>
                <a:gd name="connsiteY16-422" fmla="*/ 3030279 h 4492350"/>
                <a:gd name="connsiteX17-423" fmla="*/ 2647507 w 3742661"/>
                <a:gd name="connsiteY17-424" fmla="*/ 2519916 h 4492350"/>
                <a:gd name="connsiteX18-425" fmla="*/ 2849526 w 3742661"/>
                <a:gd name="connsiteY18-426" fmla="*/ 1307804 h 4492350"/>
                <a:gd name="connsiteX19-427" fmla="*/ 2838893 w 3742661"/>
                <a:gd name="connsiteY19-428" fmla="*/ 2371060 h 4492350"/>
                <a:gd name="connsiteX20-429" fmla="*/ 3742661 w 3742661"/>
                <a:gd name="connsiteY20-430" fmla="*/ 1148316 h 4492350"/>
                <a:gd name="connsiteX21-431" fmla="*/ 2222205 w 3742661"/>
                <a:gd name="connsiteY21-432" fmla="*/ 3370521 h 4492350"/>
                <a:gd name="connsiteX22-433" fmla="*/ 2169042 w 3742661"/>
                <a:gd name="connsiteY22-434" fmla="*/ 3817088 h 4492350"/>
                <a:gd name="connsiteX23-435" fmla="*/ 3317358 w 3742661"/>
                <a:gd name="connsiteY23-436" fmla="*/ 3094074 h 4492350"/>
                <a:gd name="connsiteX24-437" fmla="*/ 2194317 w 3742661"/>
                <a:gd name="connsiteY24-438" fmla="*/ 4030951 h 4492350"/>
                <a:gd name="connsiteX25-439" fmla="*/ 2232838 w 3742661"/>
                <a:gd name="connsiteY25-440" fmla="*/ 4476307 h 4492350"/>
                <a:gd name="connsiteX26-441" fmla="*/ 2218194 w 3742661"/>
                <a:gd name="connsiteY26-442" fmla="*/ 4491415 h 4492350"/>
                <a:gd name="connsiteX27-443" fmla="*/ 1743740 w 3742661"/>
                <a:gd name="connsiteY27-444" fmla="*/ 4492350 h 4492350"/>
                <a:gd name="connsiteX0-445" fmla="*/ 1743740 w 3742661"/>
                <a:gd name="connsiteY0-446" fmla="*/ 4492350 h 4492350"/>
                <a:gd name="connsiteX1-447" fmla="*/ 1796903 w 3742661"/>
                <a:gd name="connsiteY1-448" fmla="*/ 3785190 h 4492350"/>
                <a:gd name="connsiteX2-449" fmla="*/ 1307805 w 3742661"/>
                <a:gd name="connsiteY2-450" fmla="*/ 3381153 h 4492350"/>
                <a:gd name="connsiteX3-451" fmla="*/ 31898 w 3742661"/>
                <a:gd name="connsiteY3-452" fmla="*/ 2945218 h 4492350"/>
                <a:gd name="connsiteX4-453" fmla="*/ 1127052 w 3742661"/>
                <a:gd name="connsiteY4-454" fmla="*/ 3242930 h 4492350"/>
                <a:gd name="connsiteX5-455" fmla="*/ 393405 w 3742661"/>
                <a:gd name="connsiteY5-456" fmla="*/ 2456121 h 4492350"/>
                <a:gd name="connsiteX6-457" fmla="*/ 1775638 w 3742661"/>
                <a:gd name="connsiteY6-458" fmla="*/ 3519376 h 4492350"/>
                <a:gd name="connsiteX7-459" fmla="*/ 1679945 w 3742661"/>
                <a:gd name="connsiteY7-460" fmla="*/ 2392325 h 4492350"/>
                <a:gd name="connsiteX8-461" fmla="*/ 0 w 3742661"/>
                <a:gd name="connsiteY8-462" fmla="*/ 754911 h 4492350"/>
                <a:gd name="connsiteX9-463" fmla="*/ 988828 w 3742661"/>
                <a:gd name="connsiteY9-464" fmla="*/ 1924493 h 4492350"/>
                <a:gd name="connsiteX10-465" fmla="*/ 1137684 w 3742661"/>
                <a:gd name="connsiteY10-466" fmla="*/ 861237 h 4492350"/>
                <a:gd name="connsiteX11-467" fmla="*/ 1222745 w 3742661"/>
                <a:gd name="connsiteY11-468" fmla="*/ 2062716 h 4492350"/>
                <a:gd name="connsiteX12-469" fmla="*/ 1690577 w 3742661"/>
                <a:gd name="connsiteY12-470" fmla="*/ 2190307 h 4492350"/>
                <a:gd name="connsiteX13-471" fmla="*/ 1956391 w 3742661"/>
                <a:gd name="connsiteY13-472" fmla="*/ 0 h 4492350"/>
                <a:gd name="connsiteX14-473" fmla="*/ 2083982 w 3742661"/>
                <a:gd name="connsiteY14-474" fmla="*/ 978195 h 4492350"/>
                <a:gd name="connsiteX15-475" fmla="*/ 1881963 w 3742661"/>
                <a:gd name="connsiteY15-476" fmla="*/ 2232837 h 4492350"/>
                <a:gd name="connsiteX16-477" fmla="*/ 2041452 w 3742661"/>
                <a:gd name="connsiteY16-478" fmla="*/ 3030279 h 4492350"/>
                <a:gd name="connsiteX17-479" fmla="*/ 2647507 w 3742661"/>
                <a:gd name="connsiteY17-480" fmla="*/ 2519916 h 4492350"/>
                <a:gd name="connsiteX18-481" fmla="*/ 2849526 w 3742661"/>
                <a:gd name="connsiteY18-482" fmla="*/ 1307804 h 4492350"/>
                <a:gd name="connsiteX19-483" fmla="*/ 2838893 w 3742661"/>
                <a:gd name="connsiteY19-484" fmla="*/ 2371060 h 4492350"/>
                <a:gd name="connsiteX20-485" fmla="*/ 3742661 w 3742661"/>
                <a:gd name="connsiteY20-486" fmla="*/ 1148316 h 4492350"/>
                <a:gd name="connsiteX21-487" fmla="*/ 2222205 w 3742661"/>
                <a:gd name="connsiteY21-488" fmla="*/ 3370521 h 4492350"/>
                <a:gd name="connsiteX22-489" fmla="*/ 2169042 w 3742661"/>
                <a:gd name="connsiteY22-490" fmla="*/ 3817088 h 4492350"/>
                <a:gd name="connsiteX23-491" fmla="*/ 3317358 w 3742661"/>
                <a:gd name="connsiteY23-492" fmla="*/ 3094074 h 4492350"/>
                <a:gd name="connsiteX24-493" fmla="*/ 2194317 w 3742661"/>
                <a:gd name="connsiteY24-494" fmla="*/ 4030951 h 4492350"/>
                <a:gd name="connsiteX25-495" fmla="*/ 2232838 w 3742661"/>
                <a:gd name="connsiteY25-496" fmla="*/ 4476307 h 4492350"/>
                <a:gd name="connsiteX26-497" fmla="*/ 2218194 w 3742661"/>
                <a:gd name="connsiteY26-498" fmla="*/ 4491415 h 4492350"/>
                <a:gd name="connsiteX27-499" fmla="*/ 1743740 w 3742661"/>
                <a:gd name="connsiteY27-500" fmla="*/ 4492350 h 4492350"/>
                <a:gd name="connsiteX0-501" fmla="*/ 1743740 w 3742661"/>
                <a:gd name="connsiteY0-502" fmla="*/ 4492350 h 4492350"/>
                <a:gd name="connsiteX1-503" fmla="*/ 1796903 w 3742661"/>
                <a:gd name="connsiteY1-504" fmla="*/ 3785190 h 4492350"/>
                <a:gd name="connsiteX2-505" fmla="*/ 1307805 w 3742661"/>
                <a:gd name="connsiteY2-506" fmla="*/ 3381153 h 4492350"/>
                <a:gd name="connsiteX3-507" fmla="*/ 31898 w 3742661"/>
                <a:gd name="connsiteY3-508" fmla="*/ 2945218 h 4492350"/>
                <a:gd name="connsiteX4-509" fmla="*/ 1127052 w 3742661"/>
                <a:gd name="connsiteY4-510" fmla="*/ 3242930 h 4492350"/>
                <a:gd name="connsiteX5-511" fmla="*/ 393405 w 3742661"/>
                <a:gd name="connsiteY5-512" fmla="*/ 2456121 h 4492350"/>
                <a:gd name="connsiteX6-513" fmla="*/ 1775638 w 3742661"/>
                <a:gd name="connsiteY6-514" fmla="*/ 3519376 h 4492350"/>
                <a:gd name="connsiteX7-515" fmla="*/ 1679945 w 3742661"/>
                <a:gd name="connsiteY7-516" fmla="*/ 2392325 h 4492350"/>
                <a:gd name="connsiteX8-517" fmla="*/ 0 w 3742661"/>
                <a:gd name="connsiteY8-518" fmla="*/ 754911 h 4492350"/>
                <a:gd name="connsiteX9-519" fmla="*/ 988828 w 3742661"/>
                <a:gd name="connsiteY9-520" fmla="*/ 1924493 h 4492350"/>
                <a:gd name="connsiteX10-521" fmla="*/ 1137684 w 3742661"/>
                <a:gd name="connsiteY10-522" fmla="*/ 861237 h 4492350"/>
                <a:gd name="connsiteX11-523" fmla="*/ 1222745 w 3742661"/>
                <a:gd name="connsiteY11-524" fmla="*/ 2062716 h 4492350"/>
                <a:gd name="connsiteX12-525" fmla="*/ 1690577 w 3742661"/>
                <a:gd name="connsiteY12-526" fmla="*/ 2190307 h 4492350"/>
                <a:gd name="connsiteX13-527" fmla="*/ 1956391 w 3742661"/>
                <a:gd name="connsiteY13-528" fmla="*/ 0 h 4492350"/>
                <a:gd name="connsiteX14-529" fmla="*/ 2083982 w 3742661"/>
                <a:gd name="connsiteY14-530" fmla="*/ 978195 h 4492350"/>
                <a:gd name="connsiteX15-531" fmla="*/ 1881963 w 3742661"/>
                <a:gd name="connsiteY15-532" fmla="*/ 2232837 h 4492350"/>
                <a:gd name="connsiteX16-533" fmla="*/ 2041452 w 3742661"/>
                <a:gd name="connsiteY16-534" fmla="*/ 3030279 h 4492350"/>
                <a:gd name="connsiteX17-535" fmla="*/ 2647507 w 3742661"/>
                <a:gd name="connsiteY17-536" fmla="*/ 2519916 h 4492350"/>
                <a:gd name="connsiteX18-537" fmla="*/ 2849526 w 3742661"/>
                <a:gd name="connsiteY18-538" fmla="*/ 1307804 h 4492350"/>
                <a:gd name="connsiteX19-539" fmla="*/ 2838893 w 3742661"/>
                <a:gd name="connsiteY19-540" fmla="*/ 2371060 h 4492350"/>
                <a:gd name="connsiteX20-541" fmla="*/ 3742661 w 3742661"/>
                <a:gd name="connsiteY20-542" fmla="*/ 1148316 h 4492350"/>
                <a:gd name="connsiteX21-543" fmla="*/ 2222205 w 3742661"/>
                <a:gd name="connsiteY21-544" fmla="*/ 3370521 h 4492350"/>
                <a:gd name="connsiteX22-545" fmla="*/ 2169042 w 3742661"/>
                <a:gd name="connsiteY22-546" fmla="*/ 3817088 h 4492350"/>
                <a:gd name="connsiteX23-547" fmla="*/ 3317358 w 3742661"/>
                <a:gd name="connsiteY23-548" fmla="*/ 3094074 h 4492350"/>
                <a:gd name="connsiteX24-549" fmla="*/ 2194317 w 3742661"/>
                <a:gd name="connsiteY24-550" fmla="*/ 4030951 h 4492350"/>
                <a:gd name="connsiteX25-551" fmla="*/ 2232838 w 3742661"/>
                <a:gd name="connsiteY25-552" fmla="*/ 4476307 h 4492350"/>
                <a:gd name="connsiteX26-553" fmla="*/ 2218194 w 3742661"/>
                <a:gd name="connsiteY26-554" fmla="*/ 4491415 h 4492350"/>
                <a:gd name="connsiteX27-555" fmla="*/ 1743740 w 3742661"/>
                <a:gd name="connsiteY27-556" fmla="*/ 4492350 h 4492350"/>
                <a:gd name="connsiteX0-557" fmla="*/ 1743740 w 3742661"/>
                <a:gd name="connsiteY0-558" fmla="*/ 4492350 h 4492350"/>
                <a:gd name="connsiteX1-559" fmla="*/ 1796903 w 3742661"/>
                <a:gd name="connsiteY1-560" fmla="*/ 3785190 h 4492350"/>
                <a:gd name="connsiteX2-561" fmla="*/ 1307805 w 3742661"/>
                <a:gd name="connsiteY2-562" fmla="*/ 3381153 h 4492350"/>
                <a:gd name="connsiteX3-563" fmla="*/ 31898 w 3742661"/>
                <a:gd name="connsiteY3-564" fmla="*/ 2945218 h 4492350"/>
                <a:gd name="connsiteX4-565" fmla="*/ 1127052 w 3742661"/>
                <a:gd name="connsiteY4-566" fmla="*/ 3242930 h 4492350"/>
                <a:gd name="connsiteX5-567" fmla="*/ 393405 w 3742661"/>
                <a:gd name="connsiteY5-568" fmla="*/ 2456121 h 4492350"/>
                <a:gd name="connsiteX6-569" fmla="*/ 1775638 w 3742661"/>
                <a:gd name="connsiteY6-570" fmla="*/ 3519376 h 4492350"/>
                <a:gd name="connsiteX7-571" fmla="*/ 1679945 w 3742661"/>
                <a:gd name="connsiteY7-572" fmla="*/ 2392325 h 4492350"/>
                <a:gd name="connsiteX8-573" fmla="*/ 0 w 3742661"/>
                <a:gd name="connsiteY8-574" fmla="*/ 754911 h 4492350"/>
                <a:gd name="connsiteX9-575" fmla="*/ 988828 w 3742661"/>
                <a:gd name="connsiteY9-576" fmla="*/ 1924493 h 4492350"/>
                <a:gd name="connsiteX10-577" fmla="*/ 1137684 w 3742661"/>
                <a:gd name="connsiteY10-578" fmla="*/ 861237 h 4492350"/>
                <a:gd name="connsiteX11-579" fmla="*/ 1222745 w 3742661"/>
                <a:gd name="connsiteY11-580" fmla="*/ 2062716 h 4492350"/>
                <a:gd name="connsiteX12-581" fmla="*/ 1690577 w 3742661"/>
                <a:gd name="connsiteY12-582" fmla="*/ 2190307 h 4492350"/>
                <a:gd name="connsiteX13-583" fmla="*/ 1956391 w 3742661"/>
                <a:gd name="connsiteY13-584" fmla="*/ 0 h 4492350"/>
                <a:gd name="connsiteX14-585" fmla="*/ 2083982 w 3742661"/>
                <a:gd name="connsiteY14-586" fmla="*/ 978195 h 4492350"/>
                <a:gd name="connsiteX15-587" fmla="*/ 1881963 w 3742661"/>
                <a:gd name="connsiteY15-588" fmla="*/ 2232837 h 4492350"/>
                <a:gd name="connsiteX16-589" fmla="*/ 2041452 w 3742661"/>
                <a:gd name="connsiteY16-590" fmla="*/ 3030279 h 4492350"/>
                <a:gd name="connsiteX17-591" fmla="*/ 2647507 w 3742661"/>
                <a:gd name="connsiteY17-592" fmla="*/ 2519916 h 4492350"/>
                <a:gd name="connsiteX18-593" fmla="*/ 2849526 w 3742661"/>
                <a:gd name="connsiteY18-594" fmla="*/ 1307804 h 4492350"/>
                <a:gd name="connsiteX19-595" fmla="*/ 2838893 w 3742661"/>
                <a:gd name="connsiteY19-596" fmla="*/ 2371060 h 4492350"/>
                <a:gd name="connsiteX20-597" fmla="*/ 3742661 w 3742661"/>
                <a:gd name="connsiteY20-598" fmla="*/ 1148316 h 4492350"/>
                <a:gd name="connsiteX21-599" fmla="*/ 2222205 w 3742661"/>
                <a:gd name="connsiteY21-600" fmla="*/ 3370521 h 4492350"/>
                <a:gd name="connsiteX22-601" fmla="*/ 2169042 w 3742661"/>
                <a:gd name="connsiteY22-602" fmla="*/ 3817088 h 4492350"/>
                <a:gd name="connsiteX23-603" fmla="*/ 3317358 w 3742661"/>
                <a:gd name="connsiteY23-604" fmla="*/ 3094074 h 4492350"/>
                <a:gd name="connsiteX24-605" fmla="*/ 2194317 w 3742661"/>
                <a:gd name="connsiteY24-606" fmla="*/ 4030951 h 4492350"/>
                <a:gd name="connsiteX25-607" fmla="*/ 2232838 w 3742661"/>
                <a:gd name="connsiteY25-608" fmla="*/ 4476307 h 4492350"/>
                <a:gd name="connsiteX26-609" fmla="*/ 2218194 w 3742661"/>
                <a:gd name="connsiteY26-610" fmla="*/ 4491415 h 4492350"/>
                <a:gd name="connsiteX27-611" fmla="*/ 1743740 w 3742661"/>
                <a:gd name="connsiteY27-612" fmla="*/ 4492350 h 4492350"/>
                <a:gd name="connsiteX0-613" fmla="*/ 1743740 w 3742661"/>
                <a:gd name="connsiteY0-614" fmla="*/ 4492350 h 4492350"/>
                <a:gd name="connsiteX1-615" fmla="*/ 1796903 w 3742661"/>
                <a:gd name="connsiteY1-616" fmla="*/ 3785190 h 4492350"/>
                <a:gd name="connsiteX2-617" fmla="*/ 1307805 w 3742661"/>
                <a:gd name="connsiteY2-618" fmla="*/ 3381153 h 4492350"/>
                <a:gd name="connsiteX3-619" fmla="*/ 31898 w 3742661"/>
                <a:gd name="connsiteY3-620" fmla="*/ 2945218 h 4492350"/>
                <a:gd name="connsiteX4-621" fmla="*/ 1127052 w 3742661"/>
                <a:gd name="connsiteY4-622" fmla="*/ 3242930 h 4492350"/>
                <a:gd name="connsiteX5-623" fmla="*/ 393405 w 3742661"/>
                <a:gd name="connsiteY5-624" fmla="*/ 2456121 h 4492350"/>
                <a:gd name="connsiteX6-625" fmla="*/ 1775638 w 3742661"/>
                <a:gd name="connsiteY6-626" fmla="*/ 3519376 h 4492350"/>
                <a:gd name="connsiteX7-627" fmla="*/ 1679945 w 3742661"/>
                <a:gd name="connsiteY7-628" fmla="*/ 2392325 h 4492350"/>
                <a:gd name="connsiteX8-629" fmla="*/ 0 w 3742661"/>
                <a:gd name="connsiteY8-630" fmla="*/ 754911 h 4492350"/>
                <a:gd name="connsiteX9-631" fmla="*/ 988828 w 3742661"/>
                <a:gd name="connsiteY9-632" fmla="*/ 1924493 h 4492350"/>
                <a:gd name="connsiteX10-633" fmla="*/ 1137684 w 3742661"/>
                <a:gd name="connsiteY10-634" fmla="*/ 861237 h 4492350"/>
                <a:gd name="connsiteX11-635" fmla="*/ 1222745 w 3742661"/>
                <a:gd name="connsiteY11-636" fmla="*/ 2062716 h 4492350"/>
                <a:gd name="connsiteX12-637" fmla="*/ 1690577 w 3742661"/>
                <a:gd name="connsiteY12-638" fmla="*/ 2190307 h 4492350"/>
                <a:gd name="connsiteX13-639" fmla="*/ 1956391 w 3742661"/>
                <a:gd name="connsiteY13-640" fmla="*/ 0 h 4492350"/>
                <a:gd name="connsiteX14-641" fmla="*/ 2083982 w 3742661"/>
                <a:gd name="connsiteY14-642" fmla="*/ 978195 h 4492350"/>
                <a:gd name="connsiteX15-643" fmla="*/ 1881963 w 3742661"/>
                <a:gd name="connsiteY15-644" fmla="*/ 2232837 h 4492350"/>
                <a:gd name="connsiteX16-645" fmla="*/ 2041452 w 3742661"/>
                <a:gd name="connsiteY16-646" fmla="*/ 3030279 h 4492350"/>
                <a:gd name="connsiteX17-647" fmla="*/ 2647507 w 3742661"/>
                <a:gd name="connsiteY17-648" fmla="*/ 2519916 h 4492350"/>
                <a:gd name="connsiteX18-649" fmla="*/ 2849526 w 3742661"/>
                <a:gd name="connsiteY18-650" fmla="*/ 1307804 h 4492350"/>
                <a:gd name="connsiteX19-651" fmla="*/ 2838893 w 3742661"/>
                <a:gd name="connsiteY19-652" fmla="*/ 2371060 h 4492350"/>
                <a:gd name="connsiteX20-653" fmla="*/ 3742661 w 3742661"/>
                <a:gd name="connsiteY20-654" fmla="*/ 1148316 h 4492350"/>
                <a:gd name="connsiteX21-655" fmla="*/ 2222205 w 3742661"/>
                <a:gd name="connsiteY21-656" fmla="*/ 3370521 h 4492350"/>
                <a:gd name="connsiteX22-657" fmla="*/ 2169042 w 3742661"/>
                <a:gd name="connsiteY22-658" fmla="*/ 3817088 h 4492350"/>
                <a:gd name="connsiteX23-659" fmla="*/ 3317358 w 3742661"/>
                <a:gd name="connsiteY23-660" fmla="*/ 3094074 h 4492350"/>
                <a:gd name="connsiteX24-661" fmla="*/ 2194317 w 3742661"/>
                <a:gd name="connsiteY24-662" fmla="*/ 4030951 h 4492350"/>
                <a:gd name="connsiteX25-663" fmla="*/ 2232838 w 3742661"/>
                <a:gd name="connsiteY25-664" fmla="*/ 4476307 h 4492350"/>
                <a:gd name="connsiteX26-665" fmla="*/ 2218194 w 3742661"/>
                <a:gd name="connsiteY26-666" fmla="*/ 4491415 h 4492350"/>
                <a:gd name="connsiteX27-667" fmla="*/ 1743740 w 3742661"/>
                <a:gd name="connsiteY27-668" fmla="*/ 4492350 h 4492350"/>
                <a:gd name="connsiteX0-669" fmla="*/ 1743740 w 3742661"/>
                <a:gd name="connsiteY0-670" fmla="*/ 4492350 h 4492350"/>
                <a:gd name="connsiteX1-671" fmla="*/ 1796903 w 3742661"/>
                <a:gd name="connsiteY1-672" fmla="*/ 3785190 h 4492350"/>
                <a:gd name="connsiteX2-673" fmla="*/ 1307805 w 3742661"/>
                <a:gd name="connsiteY2-674" fmla="*/ 3381153 h 4492350"/>
                <a:gd name="connsiteX3-675" fmla="*/ 31898 w 3742661"/>
                <a:gd name="connsiteY3-676" fmla="*/ 2945218 h 4492350"/>
                <a:gd name="connsiteX4-677" fmla="*/ 1127052 w 3742661"/>
                <a:gd name="connsiteY4-678" fmla="*/ 3242930 h 4492350"/>
                <a:gd name="connsiteX5-679" fmla="*/ 393405 w 3742661"/>
                <a:gd name="connsiteY5-680" fmla="*/ 2456121 h 4492350"/>
                <a:gd name="connsiteX6-681" fmla="*/ 1775638 w 3742661"/>
                <a:gd name="connsiteY6-682" fmla="*/ 3519376 h 4492350"/>
                <a:gd name="connsiteX7-683" fmla="*/ 1679945 w 3742661"/>
                <a:gd name="connsiteY7-684" fmla="*/ 2392325 h 4492350"/>
                <a:gd name="connsiteX8-685" fmla="*/ 0 w 3742661"/>
                <a:gd name="connsiteY8-686" fmla="*/ 754911 h 4492350"/>
                <a:gd name="connsiteX9-687" fmla="*/ 988828 w 3742661"/>
                <a:gd name="connsiteY9-688" fmla="*/ 1924493 h 4492350"/>
                <a:gd name="connsiteX10-689" fmla="*/ 1137684 w 3742661"/>
                <a:gd name="connsiteY10-690" fmla="*/ 861237 h 4492350"/>
                <a:gd name="connsiteX11-691" fmla="*/ 1222745 w 3742661"/>
                <a:gd name="connsiteY11-692" fmla="*/ 2062716 h 4492350"/>
                <a:gd name="connsiteX12-693" fmla="*/ 1690577 w 3742661"/>
                <a:gd name="connsiteY12-694" fmla="*/ 2190307 h 4492350"/>
                <a:gd name="connsiteX13-695" fmla="*/ 1956391 w 3742661"/>
                <a:gd name="connsiteY13-696" fmla="*/ 0 h 4492350"/>
                <a:gd name="connsiteX14-697" fmla="*/ 2083982 w 3742661"/>
                <a:gd name="connsiteY14-698" fmla="*/ 978195 h 4492350"/>
                <a:gd name="connsiteX15-699" fmla="*/ 1881963 w 3742661"/>
                <a:gd name="connsiteY15-700" fmla="*/ 2232837 h 4492350"/>
                <a:gd name="connsiteX16-701" fmla="*/ 2041452 w 3742661"/>
                <a:gd name="connsiteY16-702" fmla="*/ 3030279 h 4492350"/>
                <a:gd name="connsiteX17-703" fmla="*/ 2647507 w 3742661"/>
                <a:gd name="connsiteY17-704" fmla="*/ 2519916 h 4492350"/>
                <a:gd name="connsiteX18-705" fmla="*/ 2849526 w 3742661"/>
                <a:gd name="connsiteY18-706" fmla="*/ 1307804 h 4492350"/>
                <a:gd name="connsiteX19-707" fmla="*/ 2838893 w 3742661"/>
                <a:gd name="connsiteY19-708" fmla="*/ 2371060 h 4492350"/>
                <a:gd name="connsiteX20-709" fmla="*/ 3742661 w 3742661"/>
                <a:gd name="connsiteY20-710" fmla="*/ 1148316 h 4492350"/>
                <a:gd name="connsiteX21-711" fmla="*/ 2222205 w 3742661"/>
                <a:gd name="connsiteY21-712" fmla="*/ 3370521 h 4492350"/>
                <a:gd name="connsiteX22-713" fmla="*/ 2169042 w 3742661"/>
                <a:gd name="connsiteY22-714" fmla="*/ 3817088 h 4492350"/>
                <a:gd name="connsiteX23-715" fmla="*/ 3317358 w 3742661"/>
                <a:gd name="connsiteY23-716" fmla="*/ 3094074 h 4492350"/>
                <a:gd name="connsiteX24-717" fmla="*/ 2194317 w 3742661"/>
                <a:gd name="connsiteY24-718" fmla="*/ 4030951 h 4492350"/>
                <a:gd name="connsiteX25-719" fmla="*/ 2232838 w 3742661"/>
                <a:gd name="connsiteY25-720" fmla="*/ 4476307 h 4492350"/>
                <a:gd name="connsiteX26-721" fmla="*/ 2218194 w 3742661"/>
                <a:gd name="connsiteY26-722" fmla="*/ 4491415 h 4492350"/>
                <a:gd name="connsiteX27-723" fmla="*/ 1743740 w 3742661"/>
                <a:gd name="connsiteY27-724" fmla="*/ 4492350 h 4492350"/>
                <a:gd name="connsiteX0-725" fmla="*/ 1743740 w 3742661"/>
                <a:gd name="connsiteY0-726" fmla="*/ 4492350 h 4492350"/>
                <a:gd name="connsiteX1-727" fmla="*/ 1796903 w 3742661"/>
                <a:gd name="connsiteY1-728" fmla="*/ 3785190 h 4492350"/>
                <a:gd name="connsiteX2-729" fmla="*/ 1307805 w 3742661"/>
                <a:gd name="connsiteY2-730" fmla="*/ 3381153 h 4492350"/>
                <a:gd name="connsiteX3-731" fmla="*/ 31898 w 3742661"/>
                <a:gd name="connsiteY3-732" fmla="*/ 2945218 h 4492350"/>
                <a:gd name="connsiteX4-733" fmla="*/ 1127052 w 3742661"/>
                <a:gd name="connsiteY4-734" fmla="*/ 3242930 h 4492350"/>
                <a:gd name="connsiteX5-735" fmla="*/ 393405 w 3742661"/>
                <a:gd name="connsiteY5-736" fmla="*/ 2456121 h 4492350"/>
                <a:gd name="connsiteX6-737" fmla="*/ 1775638 w 3742661"/>
                <a:gd name="connsiteY6-738" fmla="*/ 3519376 h 4492350"/>
                <a:gd name="connsiteX7-739" fmla="*/ 1679945 w 3742661"/>
                <a:gd name="connsiteY7-740" fmla="*/ 2392325 h 4492350"/>
                <a:gd name="connsiteX8-741" fmla="*/ 0 w 3742661"/>
                <a:gd name="connsiteY8-742" fmla="*/ 754911 h 4492350"/>
                <a:gd name="connsiteX9-743" fmla="*/ 988828 w 3742661"/>
                <a:gd name="connsiteY9-744" fmla="*/ 1924493 h 4492350"/>
                <a:gd name="connsiteX10-745" fmla="*/ 1137684 w 3742661"/>
                <a:gd name="connsiteY10-746" fmla="*/ 861237 h 4492350"/>
                <a:gd name="connsiteX11-747" fmla="*/ 1222745 w 3742661"/>
                <a:gd name="connsiteY11-748" fmla="*/ 2062716 h 4492350"/>
                <a:gd name="connsiteX12-749" fmla="*/ 1690577 w 3742661"/>
                <a:gd name="connsiteY12-750" fmla="*/ 2190307 h 4492350"/>
                <a:gd name="connsiteX13-751" fmla="*/ 1956391 w 3742661"/>
                <a:gd name="connsiteY13-752" fmla="*/ 0 h 4492350"/>
                <a:gd name="connsiteX14-753" fmla="*/ 2083982 w 3742661"/>
                <a:gd name="connsiteY14-754" fmla="*/ 978195 h 4492350"/>
                <a:gd name="connsiteX15-755" fmla="*/ 1881963 w 3742661"/>
                <a:gd name="connsiteY15-756" fmla="*/ 2232837 h 4492350"/>
                <a:gd name="connsiteX16-757" fmla="*/ 2041452 w 3742661"/>
                <a:gd name="connsiteY16-758" fmla="*/ 3030279 h 4492350"/>
                <a:gd name="connsiteX17-759" fmla="*/ 2647507 w 3742661"/>
                <a:gd name="connsiteY17-760" fmla="*/ 2519916 h 4492350"/>
                <a:gd name="connsiteX18-761" fmla="*/ 2849526 w 3742661"/>
                <a:gd name="connsiteY18-762" fmla="*/ 1307804 h 4492350"/>
                <a:gd name="connsiteX19-763" fmla="*/ 2838893 w 3742661"/>
                <a:gd name="connsiteY19-764" fmla="*/ 2371060 h 4492350"/>
                <a:gd name="connsiteX20-765" fmla="*/ 3742661 w 3742661"/>
                <a:gd name="connsiteY20-766" fmla="*/ 1148316 h 4492350"/>
                <a:gd name="connsiteX21-767" fmla="*/ 2222205 w 3742661"/>
                <a:gd name="connsiteY21-768" fmla="*/ 3370521 h 4492350"/>
                <a:gd name="connsiteX22-769" fmla="*/ 2169042 w 3742661"/>
                <a:gd name="connsiteY22-770" fmla="*/ 3817088 h 4492350"/>
                <a:gd name="connsiteX23-771" fmla="*/ 3317358 w 3742661"/>
                <a:gd name="connsiteY23-772" fmla="*/ 3094074 h 4492350"/>
                <a:gd name="connsiteX24-773" fmla="*/ 2194317 w 3742661"/>
                <a:gd name="connsiteY24-774" fmla="*/ 4030951 h 4492350"/>
                <a:gd name="connsiteX25-775" fmla="*/ 2232838 w 3742661"/>
                <a:gd name="connsiteY25-776" fmla="*/ 4476307 h 4492350"/>
                <a:gd name="connsiteX26-777" fmla="*/ 2218194 w 3742661"/>
                <a:gd name="connsiteY26-778" fmla="*/ 4491415 h 4492350"/>
                <a:gd name="connsiteX27-779" fmla="*/ 1743740 w 3742661"/>
                <a:gd name="connsiteY27-780" fmla="*/ 4492350 h 4492350"/>
                <a:gd name="connsiteX0-781" fmla="*/ 1743740 w 3742661"/>
                <a:gd name="connsiteY0-782" fmla="*/ 4492350 h 4492350"/>
                <a:gd name="connsiteX1-783" fmla="*/ 1796903 w 3742661"/>
                <a:gd name="connsiteY1-784" fmla="*/ 3785190 h 4492350"/>
                <a:gd name="connsiteX2-785" fmla="*/ 1307805 w 3742661"/>
                <a:gd name="connsiteY2-786" fmla="*/ 3381153 h 4492350"/>
                <a:gd name="connsiteX3-787" fmla="*/ 31898 w 3742661"/>
                <a:gd name="connsiteY3-788" fmla="*/ 2945218 h 4492350"/>
                <a:gd name="connsiteX4-789" fmla="*/ 1127052 w 3742661"/>
                <a:gd name="connsiteY4-790" fmla="*/ 3242930 h 4492350"/>
                <a:gd name="connsiteX5-791" fmla="*/ 393405 w 3742661"/>
                <a:gd name="connsiteY5-792" fmla="*/ 2456121 h 4492350"/>
                <a:gd name="connsiteX6-793" fmla="*/ 1775638 w 3742661"/>
                <a:gd name="connsiteY6-794" fmla="*/ 3519376 h 4492350"/>
                <a:gd name="connsiteX7-795" fmla="*/ 1679945 w 3742661"/>
                <a:gd name="connsiteY7-796" fmla="*/ 2392325 h 4492350"/>
                <a:gd name="connsiteX8-797" fmla="*/ 0 w 3742661"/>
                <a:gd name="connsiteY8-798" fmla="*/ 754911 h 4492350"/>
                <a:gd name="connsiteX9-799" fmla="*/ 988828 w 3742661"/>
                <a:gd name="connsiteY9-800" fmla="*/ 1924493 h 4492350"/>
                <a:gd name="connsiteX10-801" fmla="*/ 1137684 w 3742661"/>
                <a:gd name="connsiteY10-802" fmla="*/ 861237 h 4492350"/>
                <a:gd name="connsiteX11-803" fmla="*/ 1222745 w 3742661"/>
                <a:gd name="connsiteY11-804" fmla="*/ 2062716 h 4492350"/>
                <a:gd name="connsiteX12-805" fmla="*/ 1690577 w 3742661"/>
                <a:gd name="connsiteY12-806" fmla="*/ 2190307 h 4492350"/>
                <a:gd name="connsiteX13-807" fmla="*/ 1956391 w 3742661"/>
                <a:gd name="connsiteY13-808" fmla="*/ 0 h 4492350"/>
                <a:gd name="connsiteX14-809" fmla="*/ 2083982 w 3742661"/>
                <a:gd name="connsiteY14-810" fmla="*/ 978195 h 4492350"/>
                <a:gd name="connsiteX15-811" fmla="*/ 1881963 w 3742661"/>
                <a:gd name="connsiteY15-812" fmla="*/ 2232837 h 4492350"/>
                <a:gd name="connsiteX16-813" fmla="*/ 2041452 w 3742661"/>
                <a:gd name="connsiteY16-814" fmla="*/ 3030279 h 4492350"/>
                <a:gd name="connsiteX17-815" fmla="*/ 2647507 w 3742661"/>
                <a:gd name="connsiteY17-816" fmla="*/ 2519916 h 4492350"/>
                <a:gd name="connsiteX18-817" fmla="*/ 2849526 w 3742661"/>
                <a:gd name="connsiteY18-818" fmla="*/ 1307804 h 4492350"/>
                <a:gd name="connsiteX19-819" fmla="*/ 2838893 w 3742661"/>
                <a:gd name="connsiteY19-820" fmla="*/ 2371060 h 4492350"/>
                <a:gd name="connsiteX20-821" fmla="*/ 3742661 w 3742661"/>
                <a:gd name="connsiteY20-822" fmla="*/ 1148316 h 4492350"/>
                <a:gd name="connsiteX21-823" fmla="*/ 2222205 w 3742661"/>
                <a:gd name="connsiteY21-824" fmla="*/ 3370521 h 4492350"/>
                <a:gd name="connsiteX22-825" fmla="*/ 2169042 w 3742661"/>
                <a:gd name="connsiteY22-826" fmla="*/ 3817088 h 4492350"/>
                <a:gd name="connsiteX23-827" fmla="*/ 3317358 w 3742661"/>
                <a:gd name="connsiteY23-828" fmla="*/ 3094074 h 4492350"/>
                <a:gd name="connsiteX24-829" fmla="*/ 2194317 w 3742661"/>
                <a:gd name="connsiteY24-830" fmla="*/ 4030951 h 4492350"/>
                <a:gd name="connsiteX25-831" fmla="*/ 2232838 w 3742661"/>
                <a:gd name="connsiteY25-832" fmla="*/ 4476307 h 4492350"/>
                <a:gd name="connsiteX26-833" fmla="*/ 2218194 w 3742661"/>
                <a:gd name="connsiteY26-834" fmla="*/ 4491415 h 4492350"/>
                <a:gd name="connsiteX27-835" fmla="*/ 1743740 w 3742661"/>
                <a:gd name="connsiteY27-836" fmla="*/ 4492350 h 4492350"/>
                <a:gd name="connsiteX0-837" fmla="*/ 1743740 w 3742661"/>
                <a:gd name="connsiteY0-838" fmla="*/ 4492350 h 4492350"/>
                <a:gd name="connsiteX1-839" fmla="*/ 1796903 w 3742661"/>
                <a:gd name="connsiteY1-840" fmla="*/ 3785190 h 4492350"/>
                <a:gd name="connsiteX2-841" fmla="*/ 1307805 w 3742661"/>
                <a:gd name="connsiteY2-842" fmla="*/ 3381153 h 4492350"/>
                <a:gd name="connsiteX3-843" fmla="*/ 31898 w 3742661"/>
                <a:gd name="connsiteY3-844" fmla="*/ 2945218 h 4492350"/>
                <a:gd name="connsiteX4-845" fmla="*/ 1127052 w 3742661"/>
                <a:gd name="connsiteY4-846" fmla="*/ 3242930 h 4492350"/>
                <a:gd name="connsiteX5-847" fmla="*/ 393405 w 3742661"/>
                <a:gd name="connsiteY5-848" fmla="*/ 2456121 h 4492350"/>
                <a:gd name="connsiteX6-849" fmla="*/ 1775638 w 3742661"/>
                <a:gd name="connsiteY6-850" fmla="*/ 3519376 h 4492350"/>
                <a:gd name="connsiteX7-851" fmla="*/ 1679945 w 3742661"/>
                <a:gd name="connsiteY7-852" fmla="*/ 2392325 h 4492350"/>
                <a:gd name="connsiteX8-853" fmla="*/ 0 w 3742661"/>
                <a:gd name="connsiteY8-854" fmla="*/ 754911 h 4492350"/>
                <a:gd name="connsiteX9-855" fmla="*/ 988828 w 3742661"/>
                <a:gd name="connsiteY9-856" fmla="*/ 1924493 h 4492350"/>
                <a:gd name="connsiteX10-857" fmla="*/ 1137684 w 3742661"/>
                <a:gd name="connsiteY10-858" fmla="*/ 861237 h 4492350"/>
                <a:gd name="connsiteX11-859" fmla="*/ 1222745 w 3742661"/>
                <a:gd name="connsiteY11-860" fmla="*/ 2062716 h 4492350"/>
                <a:gd name="connsiteX12-861" fmla="*/ 1690577 w 3742661"/>
                <a:gd name="connsiteY12-862" fmla="*/ 2190307 h 4492350"/>
                <a:gd name="connsiteX13-863" fmla="*/ 1956391 w 3742661"/>
                <a:gd name="connsiteY13-864" fmla="*/ 0 h 4492350"/>
                <a:gd name="connsiteX14-865" fmla="*/ 2083982 w 3742661"/>
                <a:gd name="connsiteY14-866" fmla="*/ 978195 h 4492350"/>
                <a:gd name="connsiteX15-867" fmla="*/ 1881963 w 3742661"/>
                <a:gd name="connsiteY15-868" fmla="*/ 2232837 h 4492350"/>
                <a:gd name="connsiteX16-869" fmla="*/ 2041452 w 3742661"/>
                <a:gd name="connsiteY16-870" fmla="*/ 3030279 h 4492350"/>
                <a:gd name="connsiteX17-871" fmla="*/ 2647507 w 3742661"/>
                <a:gd name="connsiteY17-872" fmla="*/ 2519916 h 4492350"/>
                <a:gd name="connsiteX18-873" fmla="*/ 2849526 w 3742661"/>
                <a:gd name="connsiteY18-874" fmla="*/ 1307804 h 4492350"/>
                <a:gd name="connsiteX19-875" fmla="*/ 2838893 w 3742661"/>
                <a:gd name="connsiteY19-876" fmla="*/ 2371060 h 4492350"/>
                <a:gd name="connsiteX20-877" fmla="*/ 3742661 w 3742661"/>
                <a:gd name="connsiteY20-878" fmla="*/ 1148316 h 4492350"/>
                <a:gd name="connsiteX21-879" fmla="*/ 2222205 w 3742661"/>
                <a:gd name="connsiteY21-880" fmla="*/ 3370521 h 4492350"/>
                <a:gd name="connsiteX22-881" fmla="*/ 2169042 w 3742661"/>
                <a:gd name="connsiteY22-882" fmla="*/ 3817088 h 4492350"/>
                <a:gd name="connsiteX23-883" fmla="*/ 3317358 w 3742661"/>
                <a:gd name="connsiteY23-884" fmla="*/ 3094074 h 4492350"/>
                <a:gd name="connsiteX24-885" fmla="*/ 2194317 w 3742661"/>
                <a:gd name="connsiteY24-886" fmla="*/ 4030951 h 4492350"/>
                <a:gd name="connsiteX25-887" fmla="*/ 2232838 w 3742661"/>
                <a:gd name="connsiteY25-888" fmla="*/ 4476307 h 4492350"/>
                <a:gd name="connsiteX26-889" fmla="*/ 2218194 w 3742661"/>
                <a:gd name="connsiteY26-890" fmla="*/ 4491415 h 4492350"/>
                <a:gd name="connsiteX27-891" fmla="*/ 1743740 w 3742661"/>
                <a:gd name="connsiteY27-892" fmla="*/ 4492350 h 4492350"/>
                <a:gd name="connsiteX0-893" fmla="*/ 1743740 w 3742661"/>
                <a:gd name="connsiteY0-894" fmla="*/ 4492350 h 4492350"/>
                <a:gd name="connsiteX1-895" fmla="*/ 1796903 w 3742661"/>
                <a:gd name="connsiteY1-896" fmla="*/ 3785190 h 4492350"/>
                <a:gd name="connsiteX2-897" fmla="*/ 1307805 w 3742661"/>
                <a:gd name="connsiteY2-898" fmla="*/ 3381153 h 4492350"/>
                <a:gd name="connsiteX3-899" fmla="*/ 31898 w 3742661"/>
                <a:gd name="connsiteY3-900" fmla="*/ 2945218 h 4492350"/>
                <a:gd name="connsiteX4-901" fmla="*/ 1127052 w 3742661"/>
                <a:gd name="connsiteY4-902" fmla="*/ 3242930 h 4492350"/>
                <a:gd name="connsiteX5-903" fmla="*/ 393405 w 3742661"/>
                <a:gd name="connsiteY5-904" fmla="*/ 2456121 h 4492350"/>
                <a:gd name="connsiteX6-905" fmla="*/ 1775638 w 3742661"/>
                <a:gd name="connsiteY6-906" fmla="*/ 3519376 h 4492350"/>
                <a:gd name="connsiteX7-907" fmla="*/ 1679945 w 3742661"/>
                <a:gd name="connsiteY7-908" fmla="*/ 2392325 h 4492350"/>
                <a:gd name="connsiteX8-909" fmla="*/ 0 w 3742661"/>
                <a:gd name="connsiteY8-910" fmla="*/ 754911 h 4492350"/>
                <a:gd name="connsiteX9-911" fmla="*/ 988828 w 3742661"/>
                <a:gd name="connsiteY9-912" fmla="*/ 1924493 h 4492350"/>
                <a:gd name="connsiteX10-913" fmla="*/ 1137684 w 3742661"/>
                <a:gd name="connsiteY10-914" fmla="*/ 861237 h 4492350"/>
                <a:gd name="connsiteX11-915" fmla="*/ 1222745 w 3742661"/>
                <a:gd name="connsiteY11-916" fmla="*/ 2062716 h 4492350"/>
                <a:gd name="connsiteX12-917" fmla="*/ 1690577 w 3742661"/>
                <a:gd name="connsiteY12-918" fmla="*/ 2190307 h 4492350"/>
                <a:gd name="connsiteX13-919" fmla="*/ 1956391 w 3742661"/>
                <a:gd name="connsiteY13-920" fmla="*/ 0 h 4492350"/>
                <a:gd name="connsiteX14-921" fmla="*/ 2083982 w 3742661"/>
                <a:gd name="connsiteY14-922" fmla="*/ 978195 h 4492350"/>
                <a:gd name="connsiteX15-923" fmla="*/ 1881963 w 3742661"/>
                <a:gd name="connsiteY15-924" fmla="*/ 2232837 h 4492350"/>
                <a:gd name="connsiteX16-925" fmla="*/ 2041452 w 3742661"/>
                <a:gd name="connsiteY16-926" fmla="*/ 3030279 h 4492350"/>
                <a:gd name="connsiteX17-927" fmla="*/ 2647507 w 3742661"/>
                <a:gd name="connsiteY17-928" fmla="*/ 2519916 h 4492350"/>
                <a:gd name="connsiteX18-929" fmla="*/ 2849526 w 3742661"/>
                <a:gd name="connsiteY18-930" fmla="*/ 1307804 h 4492350"/>
                <a:gd name="connsiteX19-931" fmla="*/ 2838893 w 3742661"/>
                <a:gd name="connsiteY19-932" fmla="*/ 2371060 h 4492350"/>
                <a:gd name="connsiteX20-933" fmla="*/ 3742661 w 3742661"/>
                <a:gd name="connsiteY20-934" fmla="*/ 1148316 h 4492350"/>
                <a:gd name="connsiteX21-935" fmla="*/ 2222205 w 3742661"/>
                <a:gd name="connsiteY21-936" fmla="*/ 3370521 h 4492350"/>
                <a:gd name="connsiteX22-937" fmla="*/ 2169042 w 3742661"/>
                <a:gd name="connsiteY22-938" fmla="*/ 3817088 h 4492350"/>
                <a:gd name="connsiteX23-939" fmla="*/ 3317358 w 3742661"/>
                <a:gd name="connsiteY23-940" fmla="*/ 3094074 h 4492350"/>
                <a:gd name="connsiteX24-941" fmla="*/ 2194317 w 3742661"/>
                <a:gd name="connsiteY24-942" fmla="*/ 4030951 h 4492350"/>
                <a:gd name="connsiteX25-943" fmla="*/ 2232838 w 3742661"/>
                <a:gd name="connsiteY25-944" fmla="*/ 4476307 h 4492350"/>
                <a:gd name="connsiteX26-945" fmla="*/ 2218194 w 3742661"/>
                <a:gd name="connsiteY26-946" fmla="*/ 4491415 h 4492350"/>
                <a:gd name="connsiteX27-947" fmla="*/ 1743740 w 3742661"/>
                <a:gd name="connsiteY27-948" fmla="*/ 4492350 h 4492350"/>
                <a:gd name="connsiteX0-949" fmla="*/ 1743740 w 3742661"/>
                <a:gd name="connsiteY0-950" fmla="*/ 4492350 h 4492350"/>
                <a:gd name="connsiteX1-951" fmla="*/ 1796903 w 3742661"/>
                <a:gd name="connsiteY1-952" fmla="*/ 3785190 h 4492350"/>
                <a:gd name="connsiteX2-953" fmla="*/ 1307805 w 3742661"/>
                <a:gd name="connsiteY2-954" fmla="*/ 3381153 h 4492350"/>
                <a:gd name="connsiteX3-955" fmla="*/ 31898 w 3742661"/>
                <a:gd name="connsiteY3-956" fmla="*/ 2945218 h 4492350"/>
                <a:gd name="connsiteX4-957" fmla="*/ 1127052 w 3742661"/>
                <a:gd name="connsiteY4-958" fmla="*/ 3242930 h 4492350"/>
                <a:gd name="connsiteX5-959" fmla="*/ 393405 w 3742661"/>
                <a:gd name="connsiteY5-960" fmla="*/ 2456121 h 4492350"/>
                <a:gd name="connsiteX6-961" fmla="*/ 1775638 w 3742661"/>
                <a:gd name="connsiteY6-962" fmla="*/ 3519376 h 4492350"/>
                <a:gd name="connsiteX7-963" fmla="*/ 1679945 w 3742661"/>
                <a:gd name="connsiteY7-964" fmla="*/ 2392325 h 4492350"/>
                <a:gd name="connsiteX8-965" fmla="*/ 0 w 3742661"/>
                <a:gd name="connsiteY8-966" fmla="*/ 754911 h 4492350"/>
                <a:gd name="connsiteX9-967" fmla="*/ 988828 w 3742661"/>
                <a:gd name="connsiteY9-968" fmla="*/ 1924493 h 4492350"/>
                <a:gd name="connsiteX10-969" fmla="*/ 1137684 w 3742661"/>
                <a:gd name="connsiteY10-970" fmla="*/ 861237 h 4492350"/>
                <a:gd name="connsiteX11-971" fmla="*/ 1222745 w 3742661"/>
                <a:gd name="connsiteY11-972" fmla="*/ 2062716 h 4492350"/>
                <a:gd name="connsiteX12-973" fmla="*/ 1690577 w 3742661"/>
                <a:gd name="connsiteY12-974" fmla="*/ 2190307 h 4492350"/>
                <a:gd name="connsiteX13-975" fmla="*/ 1956391 w 3742661"/>
                <a:gd name="connsiteY13-976" fmla="*/ 0 h 4492350"/>
                <a:gd name="connsiteX14-977" fmla="*/ 2083982 w 3742661"/>
                <a:gd name="connsiteY14-978" fmla="*/ 978195 h 4492350"/>
                <a:gd name="connsiteX15-979" fmla="*/ 1881963 w 3742661"/>
                <a:gd name="connsiteY15-980" fmla="*/ 2232837 h 4492350"/>
                <a:gd name="connsiteX16-981" fmla="*/ 2041452 w 3742661"/>
                <a:gd name="connsiteY16-982" fmla="*/ 3030279 h 4492350"/>
                <a:gd name="connsiteX17-983" fmla="*/ 2647507 w 3742661"/>
                <a:gd name="connsiteY17-984" fmla="*/ 2519916 h 4492350"/>
                <a:gd name="connsiteX18-985" fmla="*/ 2849526 w 3742661"/>
                <a:gd name="connsiteY18-986" fmla="*/ 1307804 h 4492350"/>
                <a:gd name="connsiteX19-987" fmla="*/ 2838893 w 3742661"/>
                <a:gd name="connsiteY19-988" fmla="*/ 2371060 h 4492350"/>
                <a:gd name="connsiteX20-989" fmla="*/ 3742661 w 3742661"/>
                <a:gd name="connsiteY20-990" fmla="*/ 1148316 h 4492350"/>
                <a:gd name="connsiteX21-991" fmla="*/ 2222205 w 3742661"/>
                <a:gd name="connsiteY21-992" fmla="*/ 3370521 h 4492350"/>
                <a:gd name="connsiteX22-993" fmla="*/ 2169042 w 3742661"/>
                <a:gd name="connsiteY22-994" fmla="*/ 3817088 h 4492350"/>
                <a:gd name="connsiteX23-995" fmla="*/ 3317358 w 3742661"/>
                <a:gd name="connsiteY23-996" fmla="*/ 3094074 h 4492350"/>
                <a:gd name="connsiteX24-997" fmla="*/ 2194317 w 3742661"/>
                <a:gd name="connsiteY24-998" fmla="*/ 4030951 h 4492350"/>
                <a:gd name="connsiteX25-999" fmla="*/ 2232838 w 3742661"/>
                <a:gd name="connsiteY25-1000" fmla="*/ 4476307 h 4492350"/>
                <a:gd name="connsiteX26-1001" fmla="*/ 2218194 w 3742661"/>
                <a:gd name="connsiteY26-1002" fmla="*/ 4491415 h 4492350"/>
                <a:gd name="connsiteX27-1003" fmla="*/ 1743740 w 3742661"/>
                <a:gd name="connsiteY27-1004" fmla="*/ 4492350 h 4492350"/>
                <a:gd name="connsiteX0-1005" fmla="*/ 1743740 w 3742661"/>
                <a:gd name="connsiteY0-1006" fmla="*/ 4492350 h 4492350"/>
                <a:gd name="connsiteX1-1007" fmla="*/ 1796903 w 3742661"/>
                <a:gd name="connsiteY1-1008" fmla="*/ 3785190 h 4492350"/>
                <a:gd name="connsiteX2-1009" fmla="*/ 1307805 w 3742661"/>
                <a:gd name="connsiteY2-1010" fmla="*/ 3381153 h 4492350"/>
                <a:gd name="connsiteX3-1011" fmla="*/ 31898 w 3742661"/>
                <a:gd name="connsiteY3-1012" fmla="*/ 2945218 h 4492350"/>
                <a:gd name="connsiteX4-1013" fmla="*/ 1127052 w 3742661"/>
                <a:gd name="connsiteY4-1014" fmla="*/ 3242930 h 4492350"/>
                <a:gd name="connsiteX5-1015" fmla="*/ 393405 w 3742661"/>
                <a:gd name="connsiteY5-1016" fmla="*/ 2456121 h 4492350"/>
                <a:gd name="connsiteX6-1017" fmla="*/ 1775638 w 3742661"/>
                <a:gd name="connsiteY6-1018" fmla="*/ 3519376 h 4492350"/>
                <a:gd name="connsiteX7-1019" fmla="*/ 1679945 w 3742661"/>
                <a:gd name="connsiteY7-1020" fmla="*/ 2392325 h 4492350"/>
                <a:gd name="connsiteX8-1021" fmla="*/ 0 w 3742661"/>
                <a:gd name="connsiteY8-1022" fmla="*/ 754911 h 4492350"/>
                <a:gd name="connsiteX9-1023" fmla="*/ 988828 w 3742661"/>
                <a:gd name="connsiteY9-1024" fmla="*/ 1924493 h 4492350"/>
                <a:gd name="connsiteX10-1025" fmla="*/ 1137684 w 3742661"/>
                <a:gd name="connsiteY10-1026" fmla="*/ 861237 h 4492350"/>
                <a:gd name="connsiteX11-1027" fmla="*/ 1222745 w 3742661"/>
                <a:gd name="connsiteY11-1028" fmla="*/ 2062716 h 4492350"/>
                <a:gd name="connsiteX12-1029" fmla="*/ 1690577 w 3742661"/>
                <a:gd name="connsiteY12-1030" fmla="*/ 2190307 h 4492350"/>
                <a:gd name="connsiteX13-1031" fmla="*/ 1956391 w 3742661"/>
                <a:gd name="connsiteY13-1032" fmla="*/ 0 h 4492350"/>
                <a:gd name="connsiteX14-1033" fmla="*/ 2083982 w 3742661"/>
                <a:gd name="connsiteY14-1034" fmla="*/ 978195 h 4492350"/>
                <a:gd name="connsiteX15-1035" fmla="*/ 1881963 w 3742661"/>
                <a:gd name="connsiteY15-1036" fmla="*/ 2232837 h 4492350"/>
                <a:gd name="connsiteX16-1037" fmla="*/ 2057494 w 3742661"/>
                <a:gd name="connsiteY16-1038" fmla="*/ 3046321 h 4492350"/>
                <a:gd name="connsiteX17-1039" fmla="*/ 2647507 w 3742661"/>
                <a:gd name="connsiteY17-1040" fmla="*/ 2519916 h 4492350"/>
                <a:gd name="connsiteX18-1041" fmla="*/ 2849526 w 3742661"/>
                <a:gd name="connsiteY18-1042" fmla="*/ 1307804 h 4492350"/>
                <a:gd name="connsiteX19-1043" fmla="*/ 2838893 w 3742661"/>
                <a:gd name="connsiteY19-1044" fmla="*/ 2371060 h 4492350"/>
                <a:gd name="connsiteX20-1045" fmla="*/ 3742661 w 3742661"/>
                <a:gd name="connsiteY20-1046" fmla="*/ 1148316 h 4492350"/>
                <a:gd name="connsiteX21-1047" fmla="*/ 2222205 w 3742661"/>
                <a:gd name="connsiteY21-1048" fmla="*/ 3370521 h 4492350"/>
                <a:gd name="connsiteX22-1049" fmla="*/ 2169042 w 3742661"/>
                <a:gd name="connsiteY22-1050" fmla="*/ 3817088 h 4492350"/>
                <a:gd name="connsiteX23-1051" fmla="*/ 3317358 w 3742661"/>
                <a:gd name="connsiteY23-1052" fmla="*/ 3094074 h 4492350"/>
                <a:gd name="connsiteX24-1053" fmla="*/ 2194317 w 3742661"/>
                <a:gd name="connsiteY24-1054" fmla="*/ 4030951 h 4492350"/>
                <a:gd name="connsiteX25-1055" fmla="*/ 2232838 w 3742661"/>
                <a:gd name="connsiteY25-1056" fmla="*/ 4476307 h 4492350"/>
                <a:gd name="connsiteX26-1057" fmla="*/ 2218194 w 3742661"/>
                <a:gd name="connsiteY26-1058" fmla="*/ 4491415 h 4492350"/>
                <a:gd name="connsiteX27-1059" fmla="*/ 1743740 w 3742661"/>
                <a:gd name="connsiteY27-1060" fmla="*/ 4492350 h 4492350"/>
                <a:gd name="connsiteX0-1061" fmla="*/ 1743740 w 3742661"/>
                <a:gd name="connsiteY0-1062" fmla="*/ 4492350 h 4492350"/>
                <a:gd name="connsiteX1-1063" fmla="*/ 1796903 w 3742661"/>
                <a:gd name="connsiteY1-1064" fmla="*/ 3785190 h 4492350"/>
                <a:gd name="connsiteX2-1065" fmla="*/ 1307805 w 3742661"/>
                <a:gd name="connsiteY2-1066" fmla="*/ 3381153 h 4492350"/>
                <a:gd name="connsiteX3-1067" fmla="*/ 31898 w 3742661"/>
                <a:gd name="connsiteY3-1068" fmla="*/ 2945218 h 4492350"/>
                <a:gd name="connsiteX4-1069" fmla="*/ 1127052 w 3742661"/>
                <a:gd name="connsiteY4-1070" fmla="*/ 3242930 h 4492350"/>
                <a:gd name="connsiteX5-1071" fmla="*/ 393405 w 3742661"/>
                <a:gd name="connsiteY5-1072" fmla="*/ 2456121 h 4492350"/>
                <a:gd name="connsiteX6-1073" fmla="*/ 1775638 w 3742661"/>
                <a:gd name="connsiteY6-1074" fmla="*/ 3519376 h 4492350"/>
                <a:gd name="connsiteX7-1075" fmla="*/ 1679945 w 3742661"/>
                <a:gd name="connsiteY7-1076" fmla="*/ 2392325 h 4492350"/>
                <a:gd name="connsiteX8-1077" fmla="*/ 0 w 3742661"/>
                <a:gd name="connsiteY8-1078" fmla="*/ 754911 h 4492350"/>
                <a:gd name="connsiteX9-1079" fmla="*/ 988828 w 3742661"/>
                <a:gd name="connsiteY9-1080" fmla="*/ 1924493 h 4492350"/>
                <a:gd name="connsiteX10-1081" fmla="*/ 1137684 w 3742661"/>
                <a:gd name="connsiteY10-1082" fmla="*/ 861237 h 4492350"/>
                <a:gd name="connsiteX11-1083" fmla="*/ 1222745 w 3742661"/>
                <a:gd name="connsiteY11-1084" fmla="*/ 2062716 h 4492350"/>
                <a:gd name="connsiteX12-1085" fmla="*/ 1690577 w 3742661"/>
                <a:gd name="connsiteY12-1086" fmla="*/ 2190307 h 4492350"/>
                <a:gd name="connsiteX13-1087" fmla="*/ 1956391 w 3742661"/>
                <a:gd name="connsiteY13-1088" fmla="*/ 0 h 4492350"/>
                <a:gd name="connsiteX14-1089" fmla="*/ 2083982 w 3742661"/>
                <a:gd name="connsiteY14-1090" fmla="*/ 978195 h 4492350"/>
                <a:gd name="connsiteX15-1091" fmla="*/ 1881963 w 3742661"/>
                <a:gd name="connsiteY15-1092" fmla="*/ 2232837 h 4492350"/>
                <a:gd name="connsiteX16-1093" fmla="*/ 2057494 w 3742661"/>
                <a:gd name="connsiteY16-1094" fmla="*/ 3046321 h 4492350"/>
                <a:gd name="connsiteX17-1095" fmla="*/ 2647507 w 3742661"/>
                <a:gd name="connsiteY17-1096" fmla="*/ 2519916 h 4492350"/>
                <a:gd name="connsiteX18-1097" fmla="*/ 2849526 w 3742661"/>
                <a:gd name="connsiteY18-1098" fmla="*/ 1307804 h 4492350"/>
                <a:gd name="connsiteX19-1099" fmla="*/ 2838893 w 3742661"/>
                <a:gd name="connsiteY19-1100" fmla="*/ 2371060 h 4492350"/>
                <a:gd name="connsiteX20-1101" fmla="*/ 3742661 w 3742661"/>
                <a:gd name="connsiteY20-1102" fmla="*/ 1148316 h 4492350"/>
                <a:gd name="connsiteX21-1103" fmla="*/ 2222205 w 3742661"/>
                <a:gd name="connsiteY21-1104" fmla="*/ 3370521 h 4492350"/>
                <a:gd name="connsiteX22-1105" fmla="*/ 2169042 w 3742661"/>
                <a:gd name="connsiteY22-1106" fmla="*/ 3817088 h 4492350"/>
                <a:gd name="connsiteX23-1107" fmla="*/ 3317358 w 3742661"/>
                <a:gd name="connsiteY23-1108" fmla="*/ 3094074 h 4492350"/>
                <a:gd name="connsiteX24-1109" fmla="*/ 2194317 w 3742661"/>
                <a:gd name="connsiteY24-1110" fmla="*/ 4030951 h 4492350"/>
                <a:gd name="connsiteX25-1111" fmla="*/ 2232838 w 3742661"/>
                <a:gd name="connsiteY25-1112" fmla="*/ 4476307 h 4492350"/>
                <a:gd name="connsiteX26-1113" fmla="*/ 2218194 w 3742661"/>
                <a:gd name="connsiteY26-1114" fmla="*/ 4491415 h 4492350"/>
                <a:gd name="connsiteX27-1115" fmla="*/ 1743740 w 3742661"/>
                <a:gd name="connsiteY27-1116" fmla="*/ 4492350 h 4492350"/>
                <a:gd name="connsiteX0-1117" fmla="*/ 1743740 w 3742661"/>
                <a:gd name="connsiteY0-1118" fmla="*/ 4492350 h 4492350"/>
                <a:gd name="connsiteX1-1119" fmla="*/ 1796903 w 3742661"/>
                <a:gd name="connsiteY1-1120" fmla="*/ 3785190 h 4492350"/>
                <a:gd name="connsiteX2-1121" fmla="*/ 1307805 w 3742661"/>
                <a:gd name="connsiteY2-1122" fmla="*/ 3381153 h 4492350"/>
                <a:gd name="connsiteX3-1123" fmla="*/ 31898 w 3742661"/>
                <a:gd name="connsiteY3-1124" fmla="*/ 2945218 h 4492350"/>
                <a:gd name="connsiteX4-1125" fmla="*/ 1127052 w 3742661"/>
                <a:gd name="connsiteY4-1126" fmla="*/ 3242930 h 4492350"/>
                <a:gd name="connsiteX5-1127" fmla="*/ 393405 w 3742661"/>
                <a:gd name="connsiteY5-1128" fmla="*/ 2456121 h 4492350"/>
                <a:gd name="connsiteX6-1129" fmla="*/ 1775638 w 3742661"/>
                <a:gd name="connsiteY6-1130" fmla="*/ 3519376 h 4492350"/>
                <a:gd name="connsiteX7-1131" fmla="*/ 1679945 w 3742661"/>
                <a:gd name="connsiteY7-1132" fmla="*/ 2392325 h 4492350"/>
                <a:gd name="connsiteX8-1133" fmla="*/ 0 w 3742661"/>
                <a:gd name="connsiteY8-1134" fmla="*/ 754911 h 4492350"/>
                <a:gd name="connsiteX9-1135" fmla="*/ 988828 w 3742661"/>
                <a:gd name="connsiteY9-1136" fmla="*/ 1924493 h 4492350"/>
                <a:gd name="connsiteX10-1137" fmla="*/ 1137684 w 3742661"/>
                <a:gd name="connsiteY10-1138" fmla="*/ 861237 h 4492350"/>
                <a:gd name="connsiteX11-1139" fmla="*/ 1222745 w 3742661"/>
                <a:gd name="connsiteY11-1140" fmla="*/ 2062716 h 4492350"/>
                <a:gd name="connsiteX12-1141" fmla="*/ 1690577 w 3742661"/>
                <a:gd name="connsiteY12-1142" fmla="*/ 2190307 h 4492350"/>
                <a:gd name="connsiteX13-1143" fmla="*/ 1956391 w 3742661"/>
                <a:gd name="connsiteY13-1144" fmla="*/ 0 h 4492350"/>
                <a:gd name="connsiteX14-1145" fmla="*/ 2083982 w 3742661"/>
                <a:gd name="connsiteY14-1146" fmla="*/ 978195 h 4492350"/>
                <a:gd name="connsiteX15-1147" fmla="*/ 1881963 w 3742661"/>
                <a:gd name="connsiteY15-1148" fmla="*/ 2232837 h 4492350"/>
                <a:gd name="connsiteX16-1149" fmla="*/ 2057494 w 3742661"/>
                <a:gd name="connsiteY16-1150" fmla="*/ 3046321 h 4492350"/>
                <a:gd name="connsiteX17-1151" fmla="*/ 2647507 w 3742661"/>
                <a:gd name="connsiteY17-1152" fmla="*/ 2519916 h 4492350"/>
                <a:gd name="connsiteX18-1153" fmla="*/ 2849526 w 3742661"/>
                <a:gd name="connsiteY18-1154" fmla="*/ 1307804 h 4492350"/>
                <a:gd name="connsiteX19-1155" fmla="*/ 2838893 w 3742661"/>
                <a:gd name="connsiteY19-1156" fmla="*/ 2371060 h 4492350"/>
                <a:gd name="connsiteX20-1157" fmla="*/ 3742661 w 3742661"/>
                <a:gd name="connsiteY20-1158" fmla="*/ 1148316 h 4492350"/>
                <a:gd name="connsiteX21-1159" fmla="*/ 2222205 w 3742661"/>
                <a:gd name="connsiteY21-1160" fmla="*/ 3370521 h 4492350"/>
                <a:gd name="connsiteX22-1161" fmla="*/ 2169042 w 3742661"/>
                <a:gd name="connsiteY22-1162" fmla="*/ 3817088 h 4492350"/>
                <a:gd name="connsiteX23-1163" fmla="*/ 3317358 w 3742661"/>
                <a:gd name="connsiteY23-1164" fmla="*/ 3094074 h 4492350"/>
                <a:gd name="connsiteX24-1165" fmla="*/ 2194317 w 3742661"/>
                <a:gd name="connsiteY24-1166" fmla="*/ 4030951 h 4492350"/>
                <a:gd name="connsiteX25-1167" fmla="*/ 2232838 w 3742661"/>
                <a:gd name="connsiteY25-1168" fmla="*/ 4476307 h 4492350"/>
                <a:gd name="connsiteX26-1169" fmla="*/ 2218194 w 3742661"/>
                <a:gd name="connsiteY26-1170" fmla="*/ 4491415 h 4492350"/>
                <a:gd name="connsiteX27-1171" fmla="*/ 1743740 w 3742661"/>
                <a:gd name="connsiteY27-1172" fmla="*/ 4492350 h 4492350"/>
                <a:gd name="connsiteX0-1173" fmla="*/ 1743740 w 3742661"/>
                <a:gd name="connsiteY0-1174" fmla="*/ 4492350 h 4492350"/>
                <a:gd name="connsiteX1-1175" fmla="*/ 1796903 w 3742661"/>
                <a:gd name="connsiteY1-1176" fmla="*/ 3785190 h 4492350"/>
                <a:gd name="connsiteX2-1177" fmla="*/ 1307805 w 3742661"/>
                <a:gd name="connsiteY2-1178" fmla="*/ 3381153 h 4492350"/>
                <a:gd name="connsiteX3-1179" fmla="*/ 31898 w 3742661"/>
                <a:gd name="connsiteY3-1180" fmla="*/ 2945218 h 4492350"/>
                <a:gd name="connsiteX4-1181" fmla="*/ 1127052 w 3742661"/>
                <a:gd name="connsiteY4-1182" fmla="*/ 3242930 h 4492350"/>
                <a:gd name="connsiteX5-1183" fmla="*/ 393405 w 3742661"/>
                <a:gd name="connsiteY5-1184" fmla="*/ 2456121 h 4492350"/>
                <a:gd name="connsiteX6-1185" fmla="*/ 1775638 w 3742661"/>
                <a:gd name="connsiteY6-1186" fmla="*/ 3519376 h 4492350"/>
                <a:gd name="connsiteX7-1187" fmla="*/ 1679945 w 3742661"/>
                <a:gd name="connsiteY7-1188" fmla="*/ 2392325 h 4492350"/>
                <a:gd name="connsiteX8-1189" fmla="*/ 0 w 3742661"/>
                <a:gd name="connsiteY8-1190" fmla="*/ 754911 h 4492350"/>
                <a:gd name="connsiteX9-1191" fmla="*/ 988828 w 3742661"/>
                <a:gd name="connsiteY9-1192" fmla="*/ 1924493 h 4492350"/>
                <a:gd name="connsiteX10-1193" fmla="*/ 1137684 w 3742661"/>
                <a:gd name="connsiteY10-1194" fmla="*/ 861237 h 4492350"/>
                <a:gd name="connsiteX11-1195" fmla="*/ 1222745 w 3742661"/>
                <a:gd name="connsiteY11-1196" fmla="*/ 2062716 h 4492350"/>
                <a:gd name="connsiteX12-1197" fmla="*/ 1690577 w 3742661"/>
                <a:gd name="connsiteY12-1198" fmla="*/ 2190307 h 4492350"/>
                <a:gd name="connsiteX13-1199" fmla="*/ 1956391 w 3742661"/>
                <a:gd name="connsiteY13-1200" fmla="*/ 0 h 4492350"/>
                <a:gd name="connsiteX14-1201" fmla="*/ 2083982 w 3742661"/>
                <a:gd name="connsiteY14-1202" fmla="*/ 978195 h 4492350"/>
                <a:gd name="connsiteX15-1203" fmla="*/ 1881963 w 3742661"/>
                <a:gd name="connsiteY15-1204" fmla="*/ 2232837 h 4492350"/>
                <a:gd name="connsiteX16-1205" fmla="*/ 2057494 w 3742661"/>
                <a:gd name="connsiteY16-1206" fmla="*/ 3046321 h 4492350"/>
                <a:gd name="connsiteX17-1207" fmla="*/ 2647507 w 3742661"/>
                <a:gd name="connsiteY17-1208" fmla="*/ 2519916 h 4492350"/>
                <a:gd name="connsiteX18-1209" fmla="*/ 2913694 w 3742661"/>
                <a:gd name="connsiteY18-1210" fmla="*/ 1291762 h 4492350"/>
                <a:gd name="connsiteX19-1211" fmla="*/ 2838893 w 3742661"/>
                <a:gd name="connsiteY19-1212" fmla="*/ 2371060 h 4492350"/>
                <a:gd name="connsiteX20-1213" fmla="*/ 3742661 w 3742661"/>
                <a:gd name="connsiteY20-1214" fmla="*/ 1148316 h 4492350"/>
                <a:gd name="connsiteX21-1215" fmla="*/ 2222205 w 3742661"/>
                <a:gd name="connsiteY21-1216" fmla="*/ 3370521 h 4492350"/>
                <a:gd name="connsiteX22-1217" fmla="*/ 2169042 w 3742661"/>
                <a:gd name="connsiteY22-1218" fmla="*/ 3817088 h 4492350"/>
                <a:gd name="connsiteX23-1219" fmla="*/ 3317358 w 3742661"/>
                <a:gd name="connsiteY23-1220" fmla="*/ 3094074 h 4492350"/>
                <a:gd name="connsiteX24-1221" fmla="*/ 2194317 w 3742661"/>
                <a:gd name="connsiteY24-1222" fmla="*/ 4030951 h 4492350"/>
                <a:gd name="connsiteX25-1223" fmla="*/ 2232838 w 3742661"/>
                <a:gd name="connsiteY25-1224" fmla="*/ 4476307 h 4492350"/>
                <a:gd name="connsiteX26-1225" fmla="*/ 2218194 w 3742661"/>
                <a:gd name="connsiteY26-1226" fmla="*/ 4491415 h 4492350"/>
                <a:gd name="connsiteX27-1227" fmla="*/ 1743740 w 3742661"/>
                <a:gd name="connsiteY27-1228" fmla="*/ 4492350 h 4492350"/>
                <a:gd name="connsiteX0-1229" fmla="*/ 1743740 w 3742661"/>
                <a:gd name="connsiteY0-1230" fmla="*/ 4492350 h 4492350"/>
                <a:gd name="connsiteX1-1231" fmla="*/ 1796903 w 3742661"/>
                <a:gd name="connsiteY1-1232" fmla="*/ 3785190 h 4492350"/>
                <a:gd name="connsiteX2-1233" fmla="*/ 1307805 w 3742661"/>
                <a:gd name="connsiteY2-1234" fmla="*/ 3381153 h 4492350"/>
                <a:gd name="connsiteX3-1235" fmla="*/ 31898 w 3742661"/>
                <a:gd name="connsiteY3-1236" fmla="*/ 2945218 h 4492350"/>
                <a:gd name="connsiteX4-1237" fmla="*/ 1127052 w 3742661"/>
                <a:gd name="connsiteY4-1238" fmla="*/ 3242930 h 4492350"/>
                <a:gd name="connsiteX5-1239" fmla="*/ 393405 w 3742661"/>
                <a:gd name="connsiteY5-1240" fmla="*/ 2456121 h 4492350"/>
                <a:gd name="connsiteX6-1241" fmla="*/ 1775638 w 3742661"/>
                <a:gd name="connsiteY6-1242" fmla="*/ 3519376 h 4492350"/>
                <a:gd name="connsiteX7-1243" fmla="*/ 1679945 w 3742661"/>
                <a:gd name="connsiteY7-1244" fmla="*/ 2392325 h 4492350"/>
                <a:gd name="connsiteX8-1245" fmla="*/ 0 w 3742661"/>
                <a:gd name="connsiteY8-1246" fmla="*/ 754911 h 4492350"/>
                <a:gd name="connsiteX9-1247" fmla="*/ 988828 w 3742661"/>
                <a:gd name="connsiteY9-1248" fmla="*/ 1924493 h 4492350"/>
                <a:gd name="connsiteX10-1249" fmla="*/ 1137684 w 3742661"/>
                <a:gd name="connsiteY10-1250" fmla="*/ 861237 h 4492350"/>
                <a:gd name="connsiteX11-1251" fmla="*/ 1222745 w 3742661"/>
                <a:gd name="connsiteY11-1252" fmla="*/ 2062716 h 4492350"/>
                <a:gd name="connsiteX12-1253" fmla="*/ 1690577 w 3742661"/>
                <a:gd name="connsiteY12-1254" fmla="*/ 2190307 h 4492350"/>
                <a:gd name="connsiteX13-1255" fmla="*/ 1956391 w 3742661"/>
                <a:gd name="connsiteY13-1256" fmla="*/ 0 h 4492350"/>
                <a:gd name="connsiteX14-1257" fmla="*/ 2083982 w 3742661"/>
                <a:gd name="connsiteY14-1258" fmla="*/ 978195 h 4492350"/>
                <a:gd name="connsiteX15-1259" fmla="*/ 1881963 w 3742661"/>
                <a:gd name="connsiteY15-1260" fmla="*/ 2232837 h 4492350"/>
                <a:gd name="connsiteX16-1261" fmla="*/ 2057494 w 3742661"/>
                <a:gd name="connsiteY16-1262" fmla="*/ 3046321 h 4492350"/>
                <a:gd name="connsiteX17-1263" fmla="*/ 2647507 w 3742661"/>
                <a:gd name="connsiteY17-1264" fmla="*/ 2519916 h 4492350"/>
                <a:gd name="connsiteX18-1265" fmla="*/ 2913694 w 3742661"/>
                <a:gd name="connsiteY18-1266" fmla="*/ 1291762 h 4492350"/>
                <a:gd name="connsiteX19-1267" fmla="*/ 2838893 w 3742661"/>
                <a:gd name="connsiteY19-1268" fmla="*/ 2371060 h 4492350"/>
                <a:gd name="connsiteX20-1269" fmla="*/ 3742661 w 3742661"/>
                <a:gd name="connsiteY20-1270" fmla="*/ 1148316 h 4492350"/>
                <a:gd name="connsiteX21-1271" fmla="*/ 2222205 w 3742661"/>
                <a:gd name="connsiteY21-1272" fmla="*/ 3370521 h 4492350"/>
                <a:gd name="connsiteX22-1273" fmla="*/ 2169042 w 3742661"/>
                <a:gd name="connsiteY22-1274" fmla="*/ 3817088 h 4492350"/>
                <a:gd name="connsiteX23-1275" fmla="*/ 3317358 w 3742661"/>
                <a:gd name="connsiteY23-1276" fmla="*/ 3094074 h 4492350"/>
                <a:gd name="connsiteX24-1277" fmla="*/ 2194317 w 3742661"/>
                <a:gd name="connsiteY24-1278" fmla="*/ 4030951 h 4492350"/>
                <a:gd name="connsiteX25-1279" fmla="*/ 2232838 w 3742661"/>
                <a:gd name="connsiteY25-1280" fmla="*/ 4476307 h 4492350"/>
                <a:gd name="connsiteX26-1281" fmla="*/ 2218194 w 3742661"/>
                <a:gd name="connsiteY26-1282" fmla="*/ 4491415 h 4492350"/>
                <a:gd name="connsiteX27-1283" fmla="*/ 1743740 w 3742661"/>
                <a:gd name="connsiteY27-1284" fmla="*/ 4492350 h 4492350"/>
                <a:gd name="connsiteX0-1285" fmla="*/ 1743740 w 3742661"/>
                <a:gd name="connsiteY0-1286" fmla="*/ 4492350 h 4492350"/>
                <a:gd name="connsiteX1-1287" fmla="*/ 1796903 w 3742661"/>
                <a:gd name="connsiteY1-1288" fmla="*/ 3785190 h 4492350"/>
                <a:gd name="connsiteX2-1289" fmla="*/ 1307805 w 3742661"/>
                <a:gd name="connsiteY2-1290" fmla="*/ 3381153 h 4492350"/>
                <a:gd name="connsiteX3-1291" fmla="*/ 31898 w 3742661"/>
                <a:gd name="connsiteY3-1292" fmla="*/ 2945218 h 4492350"/>
                <a:gd name="connsiteX4-1293" fmla="*/ 1127052 w 3742661"/>
                <a:gd name="connsiteY4-1294" fmla="*/ 3242930 h 4492350"/>
                <a:gd name="connsiteX5-1295" fmla="*/ 393405 w 3742661"/>
                <a:gd name="connsiteY5-1296" fmla="*/ 2456121 h 4492350"/>
                <a:gd name="connsiteX6-1297" fmla="*/ 1775638 w 3742661"/>
                <a:gd name="connsiteY6-1298" fmla="*/ 3519376 h 4492350"/>
                <a:gd name="connsiteX7-1299" fmla="*/ 1679945 w 3742661"/>
                <a:gd name="connsiteY7-1300" fmla="*/ 2392325 h 4492350"/>
                <a:gd name="connsiteX8-1301" fmla="*/ 0 w 3742661"/>
                <a:gd name="connsiteY8-1302" fmla="*/ 754911 h 4492350"/>
                <a:gd name="connsiteX9-1303" fmla="*/ 988828 w 3742661"/>
                <a:gd name="connsiteY9-1304" fmla="*/ 1924493 h 4492350"/>
                <a:gd name="connsiteX10-1305" fmla="*/ 1137684 w 3742661"/>
                <a:gd name="connsiteY10-1306" fmla="*/ 861237 h 4492350"/>
                <a:gd name="connsiteX11-1307" fmla="*/ 1222745 w 3742661"/>
                <a:gd name="connsiteY11-1308" fmla="*/ 2062716 h 4492350"/>
                <a:gd name="connsiteX12-1309" fmla="*/ 1690577 w 3742661"/>
                <a:gd name="connsiteY12-1310" fmla="*/ 2190307 h 4492350"/>
                <a:gd name="connsiteX13-1311" fmla="*/ 1956391 w 3742661"/>
                <a:gd name="connsiteY13-1312" fmla="*/ 0 h 4492350"/>
                <a:gd name="connsiteX14-1313" fmla="*/ 2083982 w 3742661"/>
                <a:gd name="connsiteY14-1314" fmla="*/ 978195 h 4492350"/>
                <a:gd name="connsiteX15-1315" fmla="*/ 1881963 w 3742661"/>
                <a:gd name="connsiteY15-1316" fmla="*/ 2232837 h 4492350"/>
                <a:gd name="connsiteX16-1317" fmla="*/ 2057494 w 3742661"/>
                <a:gd name="connsiteY16-1318" fmla="*/ 3046321 h 4492350"/>
                <a:gd name="connsiteX17-1319" fmla="*/ 2647507 w 3742661"/>
                <a:gd name="connsiteY17-1320" fmla="*/ 2519916 h 4492350"/>
                <a:gd name="connsiteX18-1321" fmla="*/ 2913694 w 3742661"/>
                <a:gd name="connsiteY18-1322" fmla="*/ 1291762 h 4492350"/>
                <a:gd name="connsiteX19-1323" fmla="*/ 2838893 w 3742661"/>
                <a:gd name="connsiteY19-1324" fmla="*/ 2371060 h 4492350"/>
                <a:gd name="connsiteX20-1325" fmla="*/ 3742661 w 3742661"/>
                <a:gd name="connsiteY20-1326" fmla="*/ 1148316 h 4492350"/>
                <a:gd name="connsiteX21-1327" fmla="*/ 2222205 w 3742661"/>
                <a:gd name="connsiteY21-1328" fmla="*/ 3370521 h 4492350"/>
                <a:gd name="connsiteX22-1329" fmla="*/ 2169042 w 3742661"/>
                <a:gd name="connsiteY22-1330" fmla="*/ 3817088 h 4492350"/>
                <a:gd name="connsiteX23-1331" fmla="*/ 3317358 w 3742661"/>
                <a:gd name="connsiteY23-1332" fmla="*/ 3094074 h 4492350"/>
                <a:gd name="connsiteX24-1333" fmla="*/ 2194317 w 3742661"/>
                <a:gd name="connsiteY24-1334" fmla="*/ 4030951 h 4492350"/>
                <a:gd name="connsiteX25-1335" fmla="*/ 2232838 w 3742661"/>
                <a:gd name="connsiteY25-1336" fmla="*/ 4476307 h 4492350"/>
                <a:gd name="connsiteX26-1337" fmla="*/ 2218194 w 3742661"/>
                <a:gd name="connsiteY26-1338" fmla="*/ 4491415 h 4492350"/>
                <a:gd name="connsiteX27-1339" fmla="*/ 1743740 w 3742661"/>
                <a:gd name="connsiteY27-1340" fmla="*/ 4492350 h 4492350"/>
                <a:gd name="connsiteX0-1341" fmla="*/ 1743740 w 3742661"/>
                <a:gd name="connsiteY0-1342" fmla="*/ 4492350 h 4492350"/>
                <a:gd name="connsiteX1-1343" fmla="*/ 1796903 w 3742661"/>
                <a:gd name="connsiteY1-1344" fmla="*/ 3785190 h 4492350"/>
                <a:gd name="connsiteX2-1345" fmla="*/ 1307805 w 3742661"/>
                <a:gd name="connsiteY2-1346" fmla="*/ 3381153 h 4492350"/>
                <a:gd name="connsiteX3-1347" fmla="*/ 31898 w 3742661"/>
                <a:gd name="connsiteY3-1348" fmla="*/ 2945218 h 4492350"/>
                <a:gd name="connsiteX4-1349" fmla="*/ 1127052 w 3742661"/>
                <a:gd name="connsiteY4-1350" fmla="*/ 3242930 h 4492350"/>
                <a:gd name="connsiteX5-1351" fmla="*/ 393405 w 3742661"/>
                <a:gd name="connsiteY5-1352" fmla="*/ 2456121 h 4492350"/>
                <a:gd name="connsiteX6-1353" fmla="*/ 1775638 w 3742661"/>
                <a:gd name="connsiteY6-1354" fmla="*/ 3519376 h 4492350"/>
                <a:gd name="connsiteX7-1355" fmla="*/ 1679945 w 3742661"/>
                <a:gd name="connsiteY7-1356" fmla="*/ 2392325 h 4492350"/>
                <a:gd name="connsiteX8-1357" fmla="*/ 0 w 3742661"/>
                <a:gd name="connsiteY8-1358" fmla="*/ 754911 h 4492350"/>
                <a:gd name="connsiteX9-1359" fmla="*/ 988828 w 3742661"/>
                <a:gd name="connsiteY9-1360" fmla="*/ 1924493 h 4492350"/>
                <a:gd name="connsiteX10-1361" fmla="*/ 1137684 w 3742661"/>
                <a:gd name="connsiteY10-1362" fmla="*/ 861237 h 4492350"/>
                <a:gd name="connsiteX11-1363" fmla="*/ 1222745 w 3742661"/>
                <a:gd name="connsiteY11-1364" fmla="*/ 2062716 h 4492350"/>
                <a:gd name="connsiteX12-1365" fmla="*/ 1690577 w 3742661"/>
                <a:gd name="connsiteY12-1366" fmla="*/ 2190307 h 4492350"/>
                <a:gd name="connsiteX13-1367" fmla="*/ 1956391 w 3742661"/>
                <a:gd name="connsiteY13-1368" fmla="*/ 0 h 4492350"/>
                <a:gd name="connsiteX14-1369" fmla="*/ 2083982 w 3742661"/>
                <a:gd name="connsiteY14-1370" fmla="*/ 978195 h 4492350"/>
                <a:gd name="connsiteX15-1371" fmla="*/ 1881963 w 3742661"/>
                <a:gd name="connsiteY15-1372" fmla="*/ 2232837 h 4492350"/>
                <a:gd name="connsiteX16-1373" fmla="*/ 2057494 w 3742661"/>
                <a:gd name="connsiteY16-1374" fmla="*/ 3046321 h 4492350"/>
                <a:gd name="connsiteX17-1375" fmla="*/ 2647507 w 3742661"/>
                <a:gd name="connsiteY17-1376" fmla="*/ 2519916 h 4492350"/>
                <a:gd name="connsiteX18-1377" fmla="*/ 2913694 w 3742661"/>
                <a:gd name="connsiteY18-1378" fmla="*/ 1291762 h 4492350"/>
                <a:gd name="connsiteX19-1379" fmla="*/ 2806809 w 3742661"/>
                <a:gd name="connsiteY19-1380" fmla="*/ 2383091 h 4492350"/>
                <a:gd name="connsiteX20-1381" fmla="*/ 3742661 w 3742661"/>
                <a:gd name="connsiteY20-1382" fmla="*/ 1148316 h 4492350"/>
                <a:gd name="connsiteX21-1383" fmla="*/ 2222205 w 3742661"/>
                <a:gd name="connsiteY21-1384" fmla="*/ 3370521 h 4492350"/>
                <a:gd name="connsiteX22-1385" fmla="*/ 2169042 w 3742661"/>
                <a:gd name="connsiteY22-1386" fmla="*/ 3817088 h 4492350"/>
                <a:gd name="connsiteX23-1387" fmla="*/ 3317358 w 3742661"/>
                <a:gd name="connsiteY23-1388" fmla="*/ 3094074 h 4492350"/>
                <a:gd name="connsiteX24-1389" fmla="*/ 2194317 w 3742661"/>
                <a:gd name="connsiteY24-1390" fmla="*/ 4030951 h 4492350"/>
                <a:gd name="connsiteX25-1391" fmla="*/ 2232838 w 3742661"/>
                <a:gd name="connsiteY25-1392" fmla="*/ 4476307 h 4492350"/>
                <a:gd name="connsiteX26-1393" fmla="*/ 2218194 w 3742661"/>
                <a:gd name="connsiteY26-1394" fmla="*/ 4491415 h 4492350"/>
                <a:gd name="connsiteX27-1395" fmla="*/ 1743740 w 3742661"/>
                <a:gd name="connsiteY27-1396" fmla="*/ 4492350 h 4492350"/>
                <a:gd name="connsiteX0-1397" fmla="*/ 1743740 w 3742661"/>
                <a:gd name="connsiteY0-1398" fmla="*/ 4492350 h 4492350"/>
                <a:gd name="connsiteX1-1399" fmla="*/ 1796903 w 3742661"/>
                <a:gd name="connsiteY1-1400" fmla="*/ 3785190 h 4492350"/>
                <a:gd name="connsiteX2-1401" fmla="*/ 1307805 w 3742661"/>
                <a:gd name="connsiteY2-1402" fmla="*/ 3381153 h 4492350"/>
                <a:gd name="connsiteX3-1403" fmla="*/ 31898 w 3742661"/>
                <a:gd name="connsiteY3-1404" fmla="*/ 2945218 h 4492350"/>
                <a:gd name="connsiteX4-1405" fmla="*/ 1127052 w 3742661"/>
                <a:gd name="connsiteY4-1406" fmla="*/ 3242930 h 4492350"/>
                <a:gd name="connsiteX5-1407" fmla="*/ 393405 w 3742661"/>
                <a:gd name="connsiteY5-1408" fmla="*/ 2456121 h 4492350"/>
                <a:gd name="connsiteX6-1409" fmla="*/ 1775638 w 3742661"/>
                <a:gd name="connsiteY6-1410" fmla="*/ 3519376 h 4492350"/>
                <a:gd name="connsiteX7-1411" fmla="*/ 1679945 w 3742661"/>
                <a:gd name="connsiteY7-1412" fmla="*/ 2392325 h 4492350"/>
                <a:gd name="connsiteX8-1413" fmla="*/ 0 w 3742661"/>
                <a:gd name="connsiteY8-1414" fmla="*/ 754911 h 4492350"/>
                <a:gd name="connsiteX9-1415" fmla="*/ 988828 w 3742661"/>
                <a:gd name="connsiteY9-1416" fmla="*/ 1924493 h 4492350"/>
                <a:gd name="connsiteX10-1417" fmla="*/ 1137684 w 3742661"/>
                <a:gd name="connsiteY10-1418" fmla="*/ 861237 h 4492350"/>
                <a:gd name="connsiteX11-1419" fmla="*/ 1222745 w 3742661"/>
                <a:gd name="connsiteY11-1420" fmla="*/ 2062716 h 4492350"/>
                <a:gd name="connsiteX12-1421" fmla="*/ 1690577 w 3742661"/>
                <a:gd name="connsiteY12-1422" fmla="*/ 2190307 h 4492350"/>
                <a:gd name="connsiteX13-1423" fmla="*/ 1956391 w 3742661"/>
                <a:gd name="connsiteY13-1424" fmla="*/ 0 h 4492350"/>
                <a:gd name="connsiteX14-1425" fmla="*/ 2083982 w 3742661"/>
                <a:gd name="connsiteY14-1426" fmla="*/ 978195 h 4492350"/>
                <a:gd name="connsiteX15-1427" fmla="*/ 1881963 w 3742661"/>
                <a:gd name="connsiteY15-1428" fmla="*/ 2232837 h 4492350"/>
                <a:gd name="connsiteX16-1429" fmla="*/ 2057494 w 3742661"/>
                <a:gd name="connsiteY16-1430" fmla="*/ 3046321 h 4492350"/>
                <a:gd name="connsiteX17-1431" fmla="*/ 2647507 w 3742661"/>
                <a:gd name="connsiteY17-1432" fmla="*/ 2519916 h 4492350"/>
                <a:gd name="connsiteX18-1433" fmla="*/ 2913694 w 3742661"/>
                <a:gd name="connsiteY18-1434" fmla="*/ 1291762 h 4492350"/>
                <a:gd name="connsiteX19-1435" fmla="*/ 2806809 w 3742661"/>
                <a:gd name="connsiteY19-1436" fmla="*/ 2383091 h 4492350"/>
                <a:gd name="connsiteX20-1437" fmla="*/ 3742661 w 3742661"/>
                <a:gd name="connsiteY20-1438" fmla="*/ 1148316 h 4492350"/>
                <a:gd name="connsiteX21-1439" fmla="*/ 2222205 w 3742661"/>
                <a:gd name="connsiteY21-1440" fmla="*/ 3370521 h 4492350"/>
                <a:gd name="connsiteX22-1441" fmla="*/ 2169042 w 3742661"/>
                <a:gd name="connsiteY22-1442" fmla="*/ 3817088 h 4492350"/>
                <a:gd name="connsiteX23-1443" fmla="*/ 3317358 w 3742661"/>
                <a:gd name="connsiteY23-1444" fmla="*/ 3094074 h 4492350"/>
                <a:gd name="connsiteX24-1445" fmla="*/ 2194317 w 3742661"/>
                <a:gd name="connsiteY24-1446" fmla="*/ 4030951 h 4492350"/>
                <a:gd name="connsiteX25-1447" fmla="*/ 2232838 w 3742661"/>
                <a:gd name="connsiteY25-1448" fmla="*/ 4476307 h 4492350"/>
                <a:gd name="connsiteX26-1449" fmla="*/ 2218194 w 3742661"/>
                <a:gd name="connsiteY26-1450" fmla="*/ 4491415 h 4492350"/>
                <a:gd name="connsiteX27-1451" fmla="*/ 1743740 w 3742661"/>
                <a:gd name="connsiteY27-1452" fmla="*/ 4492350 h 4492350"/>
                <a:gd name="connsiteX0-1453" fmla="*/ 1743740 w 3742661"/>
                <a:gd name="connsiteY0-1454" fmla="*/ 4492350 h 4492350"/>
                <a:gd name="connsiteX1-1455" fmla="*/ 1796903 w 3742661"/>
                <a:gd name="connsiteY1-1456" fmla="*/ 3785190 h 4492350"/>
                <a:gd name="connsiteX2-1457" fmla="*/ 1307805 w 3742661"/>
                <a:gd name="connsiteY2-1458" fmla="*/ 3381153 h 4492350"/>
                <a:gd name="connsiteX3-1459" fmla="*/ 31898 w 3742661"/>
                <a:gd name="connsiteY3-1460" fmla="*/ 2945218 h 4492350"/>
                <a:gd name="connsiteX4-1461" fmla="*/ 1127052 w 3742661"/>
                <a:gd name="connsiteY4-1462" fmla="*/ 3242930 h 4492350"/>
                <a:gd name="connsiteX5-1463" fmla="*/ 393405 w 3742661"/>
                <a:gd name="connsiteY5-1464" fmla="*/ 2456121 h 4492350"/>
                <a:gd name="connsiteX6-1465" fmla="*/ 1775638 w 3742661"/>
                <a:gd name="connsiteY6-1466" fmla="*/ 3519376 h 4492350"/>
                <a:gd name="connsiteX7-1467" fmla="*/ 1679945 w 3742661"/>
                <a:gd name="connsiteY7-1468" fmla="*/ 2392325 h 4492350"/>
                <a:gd name="connsiteX8-1469" fmla="*/ 0 w 3742661"/>
                <a:gd name="connsiteY8-1470" fmla="*/ 754911 h 4492350"/>
                <a:gd name="connsiteX9-1471" fmla="*/ 988828 w 3742661"/>
                <a:gd name="connsiteY9-1472" fmla="*/ 1924493 h 4492350"/>
                <a:gd name="connsiteX10-1473" fmla="*/ 1137684 w 3742661"/>
                <a:gd name="connsiteY10-1474" fmla="*/ 861237 h 4492350"/>
                <a:gd name="connsiteX11-1475" fmla="*/ 1222745 w 3742661"/>
                <a:gd name="connsiteY11-1476" fmla="*/ 2062716 h 4492350"/>
                <a:gd name="connsiteX12-1477" fmla="*/ 1690577 w 3742661"/>
                <a:gd name="connsiteY12-1478" fmla="*/ 2190307 h 4492350"/>
                <a:gd name="connsiteX13-1479" fmla="*/ 1956391 w 3742661"/>
                <a:gd name="connsiteY13-1480" fmla="*/ 0 h 4492350"/>
                <a:gd name="connsiteX14-1481" fmla="*/ 2083982 w 3742661"/>
                <a:gd name="connsiteY14-1482" fmla="*/ 978195 h 4492350"/>
                <a:gd name="connsiteX15-1483" fmla="*/ 1881963 w 3742661"/>
                <a:gd name="connsiteY15-1484" fmla="*/ 2232837 h 4492350"/>
                <a:gd name="connsiteX16-1485" fmla="*/ 2057494 w 3742661"/>
                <a:gd name="connsiteY16-1486" fmla="*/ 3046321 h 4492350"/>
                <a:gd name="connsiteX17-1487" fmla="*/ 2647507 w 3742661"/>
                <a:gd name="connsiteY17-1488" fmla="*/ 2519916 h 4492350"/>
                <a:gd name="connsiteX18-1489" fmla="*/ 2913694 w 3742661"/>
                <a:gd name="connsiteY18-1490" fmla="*/ 1291762 h 4492350"/>
                <a:gd name="connsiteX19-1491" fmla="*/ 2806809 w 3742661"/>
                <a:gd name="connsiteY19-1492" fmla="*/ 2383091 h 4492350"/>
                <a:gd name="connsiteX20-1493" fmla="*/ 3742661 w 3742661"/>
                <a:gd name="connsiteY20-1494" fmla="*/ 1148316 h 4492350"/>
                <a:gd name="connsiteX21-1495" fmla="*/ 2222205 w 3742661"/>
                <a:gd name="connsiteY21-1496" fmla="*/ 3370521 h 4492350"/>
                <a:gd name="connsiteX22-1497" fmla="*/ 2169042 w 3742661"/>
                <a:gd name="connsiteY22-1498" fmla="*/ 3817088 h 4492350"/>
                <a:gd name="connsiteX23-1499" fmla="*/ 3317358 w 3742661"/>
                <a:gd name="connsiteY23-1500" fmla="*/ 3094074 h 4492350"/>
                <a:gd name="connsiteX24-1501" fmla="*/ 2194317 w 3742661"/>
                <a:gd name="connsiteY24-1502" fmla="*/ 4030951 h 4492350"/>
                <a:gd name="connsiteX25-1503" fmla="*/ 2232838 w 3742661"/>
                <a:gd name="connsiteY25-1504" fmla="*/ 4476307 h 4492350"/>
                <a:gd name="connsiteX26-1505" fmla="*/ 2218194 w 3742661"/>
                <a:gd name="connsiteY26-1506" fmla="*/ 4491415 h 4492350"/>
                <a:gd name="connsiteX27-1507" fmla="*/ 1743740 w 3742661"/>
                <a:gd name="connsiteY27-1508" fmla="*/ 4492350 h 4492350"/>
                <a:gd name="connsiteX0-1509" fmla="*/ 1743740 w 3742661"/>
                <a:gd name="connsiteY0-1510" fmla="*/ 4492350 h 4492350"/>
                <a:gd name="connsiteX1-1511" fmla="*/ 1796903 w 3742661"/>
                <a:gd name="connsiteY1-1512" fmla="*/ 3785190 h 4492350"/>
                <a:gd name="connsiteX2-1513" fmla="*/ 1307805 w 3742661"/>
                <a:gd name="connsiteY2-1514" fmla="*/ 3381153 h 4492350"/>
                <a:gd name="connsiteX3-1515" fmla="*/ 31898 w 3742661"/>
                <a:gd name="connsiteY3-1516" fmla="*/ 2945218 h 4492350"/>
                <a:gd name="connsiteX4-1517" fmla="*/ 1127052 w 3742661"/>
                <a:gd name="connsiteY4-1518" fmla="*/ 3242930 h 4492350"/>
                <a:gd name="connsiteX5-1519" fmla="*/ 393405 w 3742661"/>
                <a:gd name="connsiteY5-1520" fmla="*/ 2456121 h 4492350"/>
                <a:gd name="connsiteX6-1521" fmla="*/ 1775638 w 3742661"/>
                <a:gd name="connsiteY6-1522" fmla="*/ 3519376 h 4492350"/>
                <a:gd name="connsiteX7-1523" fmla="*/ 1679945 w 3742661"/>
                <a:gd name="connsiteY7-1524" fmla="*/ 2392325 h 4492350"/>
                <a:gd name="connsiteX8-1525" fmla="*/ 0 w 3742661"/>
                <a:gd name="connsiteY8-1526" fmla="*/ 754911 h 4492350"/>
                <a:gd name="connsiteX9-1527" fmla="*/ 988828 w 3742661"/>
                <a:gd name="connsiteY9-1528" fmla="*/ 1924493 h 4492350"/>
                <a:gd name="connsiteX10-1529" fmla="*/ 1137684 w 3742661"/>
                <a:gd name="connsiteY10-1530" fmla="*/ 861237 h 4492350"/>
                <a:gd name="connsiteX11-1531" fmla="*/ 1222745 w 3742661"/>
                <a:gd name="connsiteY11-1532" fmla="*/ 2062716 h 4492350"/>
                <a:gd name="connsiteX12-1533" fmla="*/ 1690577 w 3742661"/>
                <a:gd name="connsiteY12-1534" fmla="*/ 2190307 h 4492350"/>
                <a:gd name="connsiteX13-1535" fmla="*/ 1956391 w 3742661"/>
                <a:gd name="connsiteY13-1536" fmla="*/ 0 h 4492350"/>
                <a:gd name="connsiteX14-1537" fmla="*/ 2083982 w 3742661"/>
                <a:gd name="connsiteY14-1538" fmla="*/ 978195 h 4492350"/>
                <a:gd name="connsiteX15-1539" fmla="*/ 1881963 w 3742661"/>
                <a:gd name="connsiteY15-1540" fmla="*/ 2232837 h 4492350"/>
                <a:gd name="connsiteX16-1541" fmla="*/ 2057494 w 3742661"/>
                <a:gd name="connsiteY16-1542" fmla="*/ 3046321 h 4492350"/>
                <a:gd name="connsiteX17-1543" fmla="*/ 2647507 w 3742661"/>
                <a:gd name="connsiteY17-1544" fmla="*/ 2519916 h 4492350"/>
                <a:gd name="connsiteX18-1545" fmla="*/ 2913694 w 3742661"/>
                <a:gd name="connsiteY18-1546" fmla="*/ 1291762 h 4492350"/>
                <a:gd name="connsiteX19-1547" fmla="*/ 2806809 w 3742661"/>
                <a:gd name="connsiteY19-1548" fmla="*/ 2383091 h 4492350"/>
                <a:gd name="connsiteX20-1549" fmla="*/ 3742661 w 3742661"/>
                <a:gd name="connsiteY20-1550" fmla="*/ 1148316 h 4492350"/>
                <a:gd name="connsiteX21-1551" fmla="*/ 2222205 w 3742661"/>
                <a:gd name="connsiteY21-1552" fmla="*/ 3370521 h 4492350"/>
                <a:gd name="connsiteX22-1553" fmla="*/ 2169042 w 3742661"/>
                <a:gd name="connsiteY22-1554" fmla="*/ 3817088 h 4492350"/>
                <a:gd name="connsiteX23-1555" fmla="*/ 3317358 w 3742661"/>
                <a:gd name="connsiteY23-1556" fmla="*/ 3094074 h 4492350"/>
                <a:gd name="connsiteX24-1557" fmla="*/ 2194317 w 3742661"/>
                <a:gd name="connsiteY24-1558" fmla="*/ 4030951 h 4492350"/>
                <a:gd name="connsiteX25-1559" fmla="*/ 2232838 w 3742661"/>
                <a:gd name="connsiteY25-1560" fmla="*/ 4476307 h 4492350"/>
                <a:gd name="connsiteX26-1561" fmla="*/ 2218194 w 3742661"/>
                <a:gd name="connsiteY26-1562" fmla="*/ 4491415 h 4492350"/>
                <a:gd name="connsiteX27-1563" fmla="*/ 1743740 w 3742661"/>
                <a:gd name="connsiteY27-1564" fmla="*/ 4492350 h 4492350"/>
                <a:gd name="connsiteX0-1565" fmla="*/ 1743740 w 3742661"/>
                <a:gd name="connsiteY0-1566" fmla="*/ 4492350 h 4492350"/>
                <a:gd name="connsiteX1-1567" fmla="*/ 1796903 w 3742661"/>
                <a:gd name="connsiteY1-1568" fmla="*/ 3785190 h 4492350"/>
                <a:gd name="connsiteX2-1569" fmla="*/ 1307805 w 3742661"/>
                <a:gd name="connsiteY2-1570" fmla="*/ 3381153 h 4492350"/>
                <a:gd name="connsiteX3-1571" fmla="*/ 31898 w 3742661"/>
                <a:gd name="connsiteY3-1572" fmla="*/ 2945218 h 4492350"/>
                <a:gd name="connsiteX4-1573" fmla="*/ 1127052 w 3742661"/>
                <a:gd name="connsiteY4-1574" fmla="*/ 3242930 h 4492350"/>
                <a:gd name="connsiteX5-1575" fmla="*/ 393405 w 3742661"/>
                <a:gd name="connsiteY5-1576" fmla="*/ 2456121 h 4492350"/>
                <a:gd name="connsiteX6-1577" fmla="*/ 1775638 w 3742661"/>
                <a:gd name="connsiteY6-1578" fmla="*/ 3519376 h 4492350"/>
                <a:gd name="connsiteX7-1579" fmla="*/ 1679945 w 3742661"/>
                <a:gd name="connsiteY7-1580" fmla="*/ 2392325 h 4492350"/>
                <a:gd name="connsiteX8-1581" fmla="*/ 0 w 3742661"/>
                <a:gd name="connsiteY8-1582" fmla="*/ 754911 h 4492350"/>
                <a:gd name="connsiteX9-1583" fmla="*/ 988828 w 3742661"/>
                <a:gd name="connsiteY9-1584" fmla="*/ 1924493 h 4492350"/>
                <a:gd name="connsiteX10-1585" fmla="*/ 1137684 w 3742661"/>
                <a:gd name="connsiteY10-1586" fmla="*/ 861237 h 4492350"/>
                <a:gd name="connsiteX11-1587" fmla="*/ 1222745 w 3742661"/>
                <a:gd name="connsiteY11-1588" fmla="*/ 2062716 h 4492350"/>
                <a:gd name="connsiteX12-1589" fmla="*/ 1690577 w 3742661"/>
                <a:gd name="connsiteY12-1590" fmla="*/ 2190307 h 4492350"/>
                <a:gd name="connsiteX13-1591" fmla="*/ 1956391 w 3742661"/>
                <a:gd name="connsiteY13-1592" fmla="*/ 0 h 4492350"/>
                <a:gd name="connsiteX14-1593" fmla="*/ 2083982 w 3742661"/>
                <a:gd name="connsiteY14-1594" fmla="*/ 978195 h 4492350"/>
                <a:gd name="connsiteX15-1595" fmla="*/ 1881963 w 3742661"/>
                <a:gd name="connsiteY15-1596" fmla="*/ 2232837 h 4492350"/>
                <a:gd name="connsiteX16-1597" fmla="*/ 2057494 w 3742661"/>
                <a:gd name="connsiteY16-1598" fmla="*/ 3046321 h 4492350"/>
                <a:gd name="connsiteX17-1599" fmla="*/ 2647507 w 3742661"/>
                <a:gd name="connsiteY17-1600" fmla="*/ 2519916 h 4492350"/>
                <a:gd name="connsiteX18-1601" fmla="*/ 2913694 w 3742661"/>
                <a:gd name="connsiteY18-1602" fmla="*/ 1291762 h 4492350"/>
                <a:gd name="connsiteX19-1603" fmla="*/ 2806809 w 3742661"/>
                <a:gd name="connsiteY19-1604" fmla="*/ 2383091 h 4492350"/>
                <a:gd name="connsiteX20-1605" fmla="*/ 3742661 w 3742661"/>
                <a:gd name="connsiteY20-1606" fmla="*/ 1148316 h 4492350"/>
                <a:gd name="connsiteX21-1607" fmla="*/ 2222205 w 3742661"/>
                <a:gd name="connsiteY21-1608" fmla="*/ 3370521 h 4492350"/>
                <a:gd name="connsiteX22-1609" fmla="*/ 2169042 w 3742661"/>
                <a:gd name="connsiteY22-1610" fmla="*/ 3817088 h 4492350"/>
                <a:gd name="connsiteX23-1611" fmla="*/ 3317358 w 3742661"/>
                <a:gd name="connsiteY23-1612" fmla="*/ 3094074 h 4492350"/>
                <a:gd name="connsiteX24-1613" fmla="*/ 2194317 w 3742661"/>
                <a:gd name="connsiteY24-1614" fmla="*/ 4030951 h 4492350"/>
                <a:gd name="connsiteX25-1615" fmla="*/ 2232838 w 3742661"/>
                <a:gd name="connsiteY25-1616" fmla="*/ 4476307 h 4492350"/>
                <a:gd name="connsiteX26-1617" fmla="*/ 2218194 w 3742661"/>
                <a:gd name="connsiteY26-1618" fmla="*/ 4491415 h 4492350"/>
                <a:gd name="connsiteX27-1619" fmla="*/ 1743740 w 3742661"/>
                <a:gd name="connsiteY27-1620" fmla="*/ 4492350 h 4492350"/>
                <a:gd name="connsiteX0-1621" fmla="*/ 1743740 w 3718598"/>
                <a:gd name="connsiteY0-1622" fmla="*/ 4492350 h 4492350"/>
                <a:gd name="connsiteX1-1623" fmla="*/ 1796903 w 3718598"/>
                <a:gd name="connsiteY1-1624" fmla="*/ 3785190 h 4492350"/>
                <a:gd name="connsiteX2-1625" fmla="*/ 1307805 w 3718598"/>
                <a:gd name="connsiteY2-1626" fmla="*/ 3381153 h 4492350"/>
                <a:gd name="connsiteX3-1627" fmla="*/ 31898 w 3718598"/>
                <a:gd name="connsiteY3-1628" fmla="*/ 2945218 h 4492350"/>
                <a:gd name="connsiteX4-1629" fmla="*/ 1127052 w 3718598"/>
                <a:gd name="connsiteY4-1630" fmla="*/ 3242930 h 4492350"/>
                <a:gd name="connsiteX5-1631" fmla="*/ 393405 w 3718598"/>
                <a:gd name="connsiteY5-1632" fmla="*/ 2456121 h 4492350"/>
                <a:gd name="connsiteX6-1633" fmla="*/ 1775638 w 3718598"/>
                <a:gd name="connsiteY6-1634" fmla="*/ 3519376 h 4492350"/>
                <a:gd name="connsiteX7-1635" fmla="*/ 1679945 w 3718598"/>
                <a:gd name="connsiteY7-1636" fmla="*/ 2392325 h 4492350"/>
                <a:gd name="connsiteX8-1637" fmla="*/ 0 w 3718598"/>
                <a:gd name="connsiteY8-1638" fmla="*/ 754911 h 4492350"/>
                <a:gd name="connsiteX9-1639" fmla="*/ 988828 w 3718598"/>
                <a:gd name="connsiteY9-1640" fmla="*/ 1924493 h 4492350"/>
                <a:gd name="connsiteX10-1641" fmla="*/ 1137684 w 3718598"/>
                <a:gd name="connsiteY10-1642" fmla="*/ 861237 h 4492350"/>
                <a:gd name="connsiteX11-1643" fmla="*/ 1222745 w 3718598"/>
                <a:gd name="connsiteY11-1644" fmla="*/ 2062716 h 4492350"/>
                <a:gd name="connsiteX12-1645" fmla="*/ 1690577 w 3718598"/>
                <a:gd name="connsiteY12-1646" fmla="*/ 2190307 h 4492350"/>
                <a:gd name="connsiteX13-1647" fmla="*/ 1956391 w 3718598"/>
                <a:gd name="connsiteY13-1648" fmla="*/ 0 h 4492350"/>
                <a:gd name="connsiteX14-1649" fmla="*/ 2083982 w 3718598"/>
                <a:gd name="connsiteY14-1650" fmla="*/ 978195 h 4492350"/>
                <a:gd name="connsiteX15-1651" fmla="*/ 1881963 w 3718598"/>
                <a:gd name="connsiteY15-1652" fmla="*/ 2232837 h 4492350"/>
                <a:gd name="connsiteX16-1653" fmla="*/ 2057494 w 3718598"/>
                <a:gd name="connsiteY16-1654" fmla="*/ 3046321 h 4492350"/>
                <a:gd name="connsiteX17-1655" fmla="*/ 2647507 w 3718598"/>
                <a:gd name="connsiteY17-1656" fmla="*/ 2519916 h 4492350"/>
                <a:gd name="connsiteX18-1657" fmla="*/ 2913694 w 3718598"/>
                <a:gd name="connsiteY18-1658" fmla="*/ 1291762 h 4492350"/>
                <a:gd name="connsiteX19-1659" fmla="*/ 2806809 w 3718598"/>
                <a:gd name="connsiteY19-1660" fmla="*/ 2383091 h 4492350"/>
                <a:gd name="connsiteX20-1661" fmla="*/ 3718598 w 3718598"/>
                <a:gd name="connsiteY20-1662" fmla="*/ 1120242 h 4492350"/>
                <a:gd name="connsiteX21-1663" fmla="*/ 2222205 w 3718598"/>
                <a:gd name="connsiteY21-1664" fmla="*/ 3370521 h 4492350"/>
                <a:gd name="connsiteX22-1665" fmla="*/ 2169042 w 3718598"/>
                <a:gd name="connsiteY22-1666" fmla="*/ 3817088 h 4492350"/>
                <a:gd name="connsiteX23-1667" fmla="*/ 3317358 w 3718598"/>
                <a:gd name="connsiteY23-1668" fmla="*/ 3094074 h 4492350"/>
                <a:gd name="connsiteX24-1669" fmla="*/ 2194317 w 3718598"/>
                <a:gd name="connsiteY24-1670" fmla="*/ 4030951 h 4492350"/>
                <a:gd name="connsiteX25-1671" fmla="*/ 2232838 w 3718598"/>
                <a:gd name="connsiteY25-1672" fmla="*/ 4476307 h 4492350"/>
                <a:gd name="connsiteX26-1673" fmla="*/ 2218194 w 3718598"/>
                <a:gd name="connsiteY26-1674" fmla="*/ 4491415 h 4492350"/>
                <a:gd name="connsiteX27-1675" fmla="*/ 1743740 w 3718598"/>
                <a:gd name="connsiteY27-1676" fmla="*/ 4492350 h 4492350"/>
                <a:gd name="connsiteX0-1677" fmla="*/ 1743740 w 3718598"/>
                <a:gd name="connsiteY0-1678" fmla="*/ 4492350 h 4492350"/>
                <a:gd name="connsiteX1-1679" fmla="*/ 1796903 w 3718598"/>
                <a:gd name="connsiteY1-1680" fmla="*/ 3785190 h 4492350"/>
                <a:gd name="connsiteX2-1681" fmla="*/ 1307805 w 3718598"/>
                <a:gd name="connsiteY2-1682" fmla="*/ 3381153 h 4492350"/>
                <a:gd name="connsiteX3-1683" fmla="*/ 31898 w 3718598"/>
                <a:gd name="connsiteY3-1684" fmla="*/ 2945218 h 4492350"/>
                <a:gd name="connsiteX4-1685" fmla="*/ 1127052 w 3718598"/>
                <a:gd name="connsiteY4-1686" fmla="*/ 3242930 h 4492350"/>
                <a:gd name="connsiteX5-1687" fmla="*/ 393405 w 3718598"/>
                <a:gd name="connsiteY5-1688" fmla="*/ 2456121 h 4492350"/>
                <a:gd name="connsiteX6-1689" fmla="*/ 1775638 w 3718598"/>
                <a:gd name="connsiteY6-1690" fmla="*/ 3519376 h 4492350"/>
                <a:gd name="connsiteX7-1691" fmla="*/ 1679945 w 3718598"/>
                <a:gd name="connsiteY7-1692" fmla="*/ 2392325 h 4492350"/>
                <a:gd name="connsiteX8-1693" fmla="*/ 0 w 3718598"/>
                <a:gd name="connsiteY8-1694" fmla="*/ 754911 h 4492350"/>
                <a:gd name="connsiteX9-1695" fmla="*/ 988828 w 3718598"/>
                <a:gd name="connsiteY9-1696" fmla="*/ 1924493 h 4492350"/>
                <a:gd name="connsiteX10-1697" fmla="*/ 1137684 w 3718598"/>
                <a:gd name="connsiteY10-1698" fmla="*/ 861237 h 4492350"/>
                <a:gd name="connsiteX11-1699" fmla="*/ 1222745 w 3718598"/>
                <a:gd name="connsiteY11-1700" fmla="*/ 2062716 h 4492350"/>
                <a:gd name="connsiteX12-1701" fmla="*/ 1690577 w 3718598"/>
                <a:gd name="connsiteY12-1702" fmla="*/ 2190307 h 4492350"/>
                <a:gd name="connsiteX13-1703" fmla="*/ 1956391 w 3718598"/>
                <a:gd name="connsiteY13-1704" fmla="*/ 0 h 4492350"/>
                <a:gd name="connsiteX14-1705" fmla="*/ 2083982 w 3718598"/>
                <a:gd name="connsiteY14-1706" fmla="*/ 978195 h 4492350"/>
                <a:gd name="connsiteX15-1707" fmla="*/ 1881963 w 3718598"/>
                <a:gd name="connsiteY15-1708" fmla="*/ 2232837 h 4492350"/>
                <a:gd name="connsiteX16-1709" fmla="*/ 2057494 w 3718598"/>
                <a:gd name="connsiteY16-1710" fmla="*/ 3046321 h 4492350"/>
                <a:gd name="connsiteX17-1711" fmla="*/ 2647507 w 3718598"/>
                <a:gd name="connsiteY17-1712" fmla="*/ 2519916 h 4492350"/>
                <a:gd name="connsiteX18-1713" fmla="*/ 2913694 w 3718598"/>
                <a:gd name="connsiteY18-1714" fmla="*/ 1291762 h 4492350"/>
                <a:gd name="connsiteX19-1715" fmla="*/ 2806809 w 3718598"/>
                <a:gd name="connsiteY19-1716" fmla="*/ 2383091 h 4492350"/>
                <a:gd name="connsiteX20-1717" fmla="*/ 3718598 w 3718598"/>
                <a:gd name="connsiteY20-1718" fmla="*/ 1120242 h 4492350"/>
                <a:gd name="connsiteX21-1719" fmla="*/ 2222205 w 3718598"/>
                <a:gd name="connsiteY21-1720" fmla="*/ 3370521 h 4492350"/>
                <a:gd name="connsiteX22-1721" fmla="*/ 2169042 w 3718598"/>
                <a:gd name="connsiteY22-1722" fmla="*/ 3817088 h 4492350"/>
                <a:gd name="connsiteX23-1723" fmla="*/ 3317358 w 3718598"/>
                <a:gd name="connsiteY23-1724" fmla="*/ 3094074 h 4492350"/>
                <a:gd name="connsiteX24-1725" fmla="*/ 2194317 w 3718598"/>
                <a:gd name="connsiteY24-1726" fmla="*/ 4030951 h 4492350"/>
                <a:gd name="connsiteX25-1727" fmla="*/ 2232838 w 3718598"/>
                <a:gd name="connsiteY25-1728" fmla="*/ 4476307 h 4492350"/>
                <a:gd name="connsiteX26-1729" fmla="*/ 2218194 w 3718598"/>
                <a:gd name="connsiteY26-1730" fmla="*/ 4491415 h 4492350"/>
                <a:gd name="connsiteX27-1731" fmla="*/ 1743740 w 3718598"/>
                <a:gd name="connsiteY27-1732" fmla="*/ 4492350 h 4492350"/>
                <a:gd name="connsiteX0-1733" fmla="*/ 1743740 w 3718598"/>
                <a:gd name="connsiteY0-1734" fmla="*/ 4492350 h 4492350"/>
                <a:gd name="connsiteX1-1735" fmla="*/ 1796903 w 3718598"/>
                <a:gd name="connsiteY1-1736" fmla="*/ 3785190 h 4492350"/>
                <a:gd name="connsiteX2-1737" fmla="*/ 1307805 w 3718598"/>
                <a:gd name="connsiteY2-1738" fmla="*/ 3381153 h 4492350"/>
                <a:gd name="connsiteX3-1739" fmla="*/ 31898 w 3718598"/>
                <a:gd name="connsiteY3-1740" fmla="*/ 2945218 h 4492350"/>
                <a:gd name="connsiteX4-1741" fmla="*/ 1127052 w 3718598"/>
                <a:gd name="connsiteY4-1742" fmla="*/ 3242930 h 4492350"/>
                <a:gd name="connsiteX5-1743" fmla="*/ 393405 w 3718598"/>
                <a:gd name="connsiteY5-1744" fmla="*/ 2456121 h 4492350"/>
                <a:gd name="connsiteX6-1745" fmla="*/ 1775638 w 3718598"/>
                <a:gd name="connsiteY6-1746" fmla="*/ 3519376 h 4492350"/>
                <a:gd name="connsiteX7-1747" fmla="*/ 1679945 w 3718598"/>
                <a:gd name="connsiteY7-1748" fmla="*/ 2392325 h 4492350"/>
                <a:gd name="connsiteX8-1749" fmla="*/ 0 w 3718598"/>
                <a:gd name="connsiteY8-1750" fmla="*/ 754911 h 4492350"/>
                <a:gd name="connsiteX9-1751" fmla="*/ 988828 w 3718598"/>
                <a:gd name="connsiteY9-1752" fmla="*/ 1924493 h 4492350"/>
                <a:gd name="connsiteX10-1753" fmla="*/ 1137684 w 3718598"/>
                <a:gd name="connsiteY10-1754" fmla="*/ 861237 h 4492350"/>
                <a:gd name="connsiteX11-1755" fmla="*/ 1222745 w 3718598"/>
                <a:gd name="connsiteY11-1756" fmla="*/ 2062716 h 4492350"/>
                <a:gd name="connsiteX12-1757" fmla="*/ 1690577 w 3718598"/>
                <a:gd name="connsiteY12-1758" fmla="*/ 2190307 h 4492350"/>
                <a:gd name="connsiteX13-1759" fmla="*/ 1956391 w 3718598"/>
                <a:gd name="connsiteY13-1760" fmla="*/ 0 h 4492350"/>
                <a:gd name="connsiteX14-1761" fmla="*/ 2083982 w 3718598"/>
                <a:gd name="connsiteY14-1762" fmla="*/ 978195 h 4492350"/>
                <a:gd name="connsiteX15-1763" fmla="*/ 1881963 w 3718598"/>
                <a:gd name="connsiteY15-1764" fmla="*/ 2232837 h 4492350"/>
                <a:gd name="connsiteX16-1765" fmla="*/ 2057494 w 3718598"/>
                <a:gd name="connsiteY16-1766" fmla="*/ 3046321 h 4492350"/>
                <a:gd name="connsiteX17-1767" fmla="*/ 2647507 w 3718598"/>
                <a:gd name="connsiteY17-1768" fmla="*/ 2519916 h 4492350"/>
                <a:gd name="connsiteX18-1769" fmla="*/ 2913694 w 3718598"/>
                <a:gd name="connsiteY18-1770" fmla="*/ 1291762 h 4492350"/>
                <a:gd name="connsiteX19-1771" fmla="*/ 2806809 w 3718598"/>
                <a:gd name="connsiteY19-1772" fmla="*/ 2383091 h 4492350"/>
                <a:gd name="connsiteX20-1773" fmla="*/ 3718598 w 3718598"/>
                <a:gd name="connsiteY20-1774" fmla="*/ 1120242 h 4492350"/>
                <a:gd name="connsiteX21-1775" fmla="*/ 2222205 w 3718598"/>
                <a:gd name="connsiteY21-1776" fmla="*/ 3370521 h 4492350"/>
                <a:gd name="connsiteX22-1777" fmla="*/ 2169042 w 3718598"/>
                <a:gd name="connsiteY22-1778" fmla="*/ 3817088 h 4492350"/>
                <a:gd name="connsiteX23-1779" fmla="*/ 3317358 w 3718598"/>
                <a:gd name="connsiteY23-1780" fmla="*/ 3094074 h 4492350"/>
                <a:gd name="connsiteX24-1781" fmla="*/ 2194317 w 3718598"/>
                <a:gd name="connsiteY24-1782" fmla="*/ 4030951 h 4492350"/>
                <a:gd name="connsiteX25-1783" fmla="*/ 2232838 w 3718598"/>
                <a:gd name="connsiteY25-1784" fmla="*/ 4476307 h 4492350"/>
                <a:gd name="connsiteX26-1785" fmla="*/ 2218194 w 3718598"/>
                <a:gd name="connsiteY26-1786" fmla="*/ 4491415 h 4492350"/>
                <a:gd name="connsiteX27-1787" fmla="*/ 1743740 w 3718598"/>
                <a:gd name="connsiteY27-1788" fmla="*/ 4492350 h 4492350"/>
                <a:gd name="connsiteX0-1789" fmla="*/ 1743740 w 3718598"/>
                <a:gd name="connsiteY0-1790" fmla="*/ 4492350 h 4492350"/>
                <a:gd name="connsiteX1-1791" fmla="*/ 1796903 w 3718598"/>
                <a:gd name="connsiteY1-1792" fmla="*/ 3785190 h 4492350"/>
                <a:gd name="connsiteX2-1793" fmla="*/ 1307805 w 3718598"/>
                <a:gd name="connsiteY2-1794" fmla="*/ 3381153 h 4492350"/>
                <a:gd name="connsiteX3-1795" fmla="*/ 31898 w 3718598"/>
                <a:gd name="connsiteY3-1796" fmla="*/ 2945218 h 4492350"/>
                <a:gd name="connsiteX4-1797" fmla="*/ 1127052 w 3718598"/>
                <a:gd name="connsiteY4-1798" fmla="*/ 3242930 h 4492350"/>
                <a:gd name="connsiteX5-1799" fmla="*/ 393405 w 3718598"/>
                <a:gd name="connsiteY5-1800" fmla="*/ 2456121 h 4492350"/>
                <a:gd name="connsiteX6-1801" fmla="*/ 1775638 w 3718598"/>
                <a:gd name="connsiteY6-1802" fmla="*/ 3519376 h 4492350"/>
                <a:gd name="connsiteX7-1803" fmla="*/ 1679945 w 3718598"/>
                <a:gd name="connsiteY7-1804" fmla="*/ 2392325 h 4492350"/>
                <a:gd name="connsiteX8-1805" fmla="*/ 0 w 3718598"/>
                <a:gd name="connsiteY8-1806" fmla="*/ 754911 h 4492350"/>
                <a:gd name="connsiteX9-1807" fmla="*/ 988828 w 3718598"/>
                <a:gd name="connsiteY9-1808" fmla="*/ 1924493 h 4492350"/>
                <a:gd name="connsiteX10-1809" fmla="*/ 1137684 w 3718598"/>
                <a:gd name="connsiteY10-1810" fmla="*/ 861237 h 4492350"/>
                <a:gd name="connsiteX11-1811" fmla="*/ 1222745 w 3718598"/>
                <a:gd name="connsiteY11-1812" fmla="*/ 2062716 h 4492350"/>
                <a:gd name="connsiteX12-1813" fmla="*/ 1690577 w 3718598"/>
                <a:gd name="connsiteY12-1814" fmla="*/ 2190307 h 4492350"/>
                <a:gd name="connsiteX13-1815" fmla="*/ 1956391 w 3718598"/>
                <a:gd name="connsiteY13-1816" fmla="*/ 0 h 4492350"/>
                <a:gd name="connsiteX14-1817" fmla="*/ 2083982 w 3718598"/>
                <a:gd name="connsiteY14-1818" fmla="*/ 978195 h 4492350"/>
                <a:gd name="connsiteX15-1819" fmla="*/ 1881963 w 3718598"/>
                <a:gd name="connsiteY15-1820" fmla="*/ 2232837 h 4492350"/>
                <a:gd name="connsiteX16-1821" fmla="*/ 2057494 w 3718598"/>
                <a:gd name="connsiteY16-1822" fmla="*/ 3046321 h 4492350"/>
                <a:gd name="connsiteX17-1823" fmla="*/ 2647507 w 3718598"/>
                <a:gd name="connsiteY17-1824" fmla="*/ 2519916 h 4492350"/>
                <a:gd name="connsiteX18-1825" fmla="*/ 2913694 w 3718598"/>
                <a:gd name="connsiteY18-1826" fmla="*/ 1291762 h 4492350"/>
                <a:gd name="connsiteX19-1827" fmla="*/ 2806809 w 3718598"/>
                <a:gd name="connsiteY19-1828" fmla="*/ 2383091 h 4492350"/>
                <a:gd name="connsiteX20-1829" fmla="*/ 3718598 w 3718598"/>
                <a:gd name="connsiteY20-1830" fmla="*/ 1120242 h 4492350"/>
                <a:gd name="connsiteX21-1831" fmla="*/ 2222205 w 3718598"/>
                <a:gd name="connsiteY21-1832" fmla="*/ 3370521 h 4492350"/>
                <a:gd name="connsiteX22-1833" fmla="*/ 2169042 w 3718598"/>
                <a:gd name="connsiteY22-1834" fmla="*/ 3817088 h 4492350"/>
                <a:gd name="connsiteX23-1835" fmla="*/ 3317358 w 3718598"/>
                <a:gd name="connsiteY23-1836" fmla="*/ 3094074 h 4492350"/>
                <a:gd name="connsiteX24-1837" fmla="*/ 2194317 w 3718598"/>
                <a:gd name="connsiteY24-1838" fmla="*/ 4030951 h 4492350"/>
                <a:gd name="connsiteX25-1839" fmla="*/ 2232838 w 3718598"/>
                <a:gd name="connsiteY25-1840" fmla="*/ 4476307 h 4492350"/>
                <a:gd name="connsiteX26-1841" fmla="*/ 2218194 w 3718598"/>
                <a:gd name="connsiteY26-1842" fmla="*/ 4491415 h 4492350"/>
                <a:gd name="connsiteX27-1843" fmla="*/ 1743740 w 3718598"/>
                <a:gd name="connsiteY27-1844" fmla="*/ 4492350 h 4492350"/>
                <a:gd name="connsiteX0-1845" fmla="*/ 1743740 w 3718598"/>
                <a:gd name="connsiteY0-1846" fmla="*/ 4492350 h 4492350"/>
                <a:gd name="connsiteX1-1847" fmla="*/ 1796903 w 3718598"/>
                <a:gd name="connsiteY1-1848" fmla="*/ 3785190 h 4492350"/>
                <a:gd name="connsiteX2-1849" fmla="*/ 1307805 w 3718598"/>
                <a:gd name="connsiteY2-1850" fmla="*/ 3381153 h 4492350"/>
                <a:gd name="connsiteX3-1851" fmla="*/ 31898 w 3718598"/>
                <a:gd name="connsiteY3-1852" fmla="*/ 2945218 h 4492350"/>
                <a:gd name="connsiteX4-1853" fmla="*/ 1127052 w 3718598"/>
                <a:gd name="connsiteY4-1854" fmla="*/ 3242930 h 4492350"/>
                <a:gd name="connsiteX5-1855" fmla="*/ 393405 w 3718598"/>
                <a:gd name="connsiteY5-1856" fmla="*/ 2456121 h 4492350"/>
                <a:gd name="connsiteX6-1857" fmla="*/ 1775638 w 3718598"/>
                <a:gd name="connsiteY6-1858" fmla="*/ 3519376 h 4492350"/>
                <a:gd name="connsiteX7-1859" fmla="*/ 1679945 w 3718598"/>
                <a:gd name="connsiteY7-1860" fmla="*/ 2392325 h 4492350"/>
                <a:gd name="connsiteX8-1861" fmla="*/ 0 w 3718598"/>
                <a:gd name="connsiteY8-1862" fmla="*/ 754911 h 4492350"/>
                <a:gd name="connsiteX9-1863" fmla="*/ 988828 w 3718598"/>
                <a:gd name="connsiteY9-1864" fmla="*/ 1924493 h 4492350"/>
                <a:gd name="connsiteX10-1865" fmla="*/ 1137684 w 3718598"/>
                <a:gd name="connsiteY10-1866" fmla="*/ 861237 h 4492350"/>
                <a:gd name="connsiteX11-1867" fmla="*/ 1222745 w 3718598"/>
                <a:gd name="connsiteY11-1868" fmla="*/ 2062716 h 4492350"/>
                <a:gd name="connsiteX12-1869" fmla="*/ 1690577 w 3718598"/>
                <a:gd name="connsiteY12-1870" fmla="*/ 2190307 h 4492350"/>
                <a:gd name="connsiteX13-1871" fmla="*/ 1956391 w 3718598"/>
                <a:gd name="connsiteY13-1872" fmla="*/ 0 h 4492350"/>
                <a:gd name="connsiteX14-1873" fmla="*/ 2083982 w 3718598"/>
                <a:gd name="connsiteY14-1874" fmla="*/ 978195 h 4492350"/>
                <a:gd name="connsiteX15-1875" fmla="*/ 1881963 w 3718598"/>
                <a:gd name="connsiteY15-1876" fmla="*/ 2232837 h 4492350"/>
                <a:gd name="connsiteX16-1877" fmla="*/ 2057494 w 3718598"/>
                <a:gd name="connsiteY16-1878" fmla="*/ 3046321 h 4492350"/>
                <a:gd name="connsiteX17-1879" fmla="*/ 2647507 w 3718598"/>
                <a:gd name="connsiteY17-1880" fmla="*/ 2519916 h 4492350"/>
                <a:gd name="connsiteX18-1881" fmla="*/ 2913694 w 3718598"/>
                <a:gd name="connsiteY18-1882" fmla="*/ 1291762 h 4492350"/>
                <a:gd name="connsiteX19-1883" fmla="*/ 2806809 w 3718598"/>
                <a:gd name="connsiteY19-1884" fmla="*/ 2383091 h 4492350"/>
                <a:gd name="connsiteX20-1885" fmla="*/ 3718598 w 3718598"/>
                <a:gd name="connsiteY20-1886" fmla="*/ 1120242 h 4492350"/>
                <a:gd name="connsiteX21-1887" fmla="*/ 2222205 w 3718598"/>
                <a:gd name="connsiteY21-1888" fmla="*/ 3370521 h 4492350"/>
                <a:gd name="connsiteX22-1889" fmla="*/ 2169042 w 3718598"/>
                <a:gd name="connsiteY22-1890" fmla="*/ 3817088 h 4492350"/>
                <a:gd name="connsiteX23-1891" fmla="*/ 3317358 w 3718598"/>
                <a:gd name="connsiteY23-1892" fmla="*/ 3094074 h 4492350"/>
                <a:gd name="connsiteX24-1893" fmla="*/ 2194317 w 3718598"/>
                <a:gd name="connsiteY24-1894" fmla="*/ 4030951 h 4492350"/>
                <a:gd name="connsiteX25-1895" fmla="*/ 2232838 w 3718598"/>
                <a:gd name="connsiteY25-1896" fmla="*/ 4476307 h 4492350"/>
                <a:gd name="connsiteX26-1897" fmla="*/ 2218194 w 3718598"/>
                <a:gd name="connsiteY26-1898" fmla="*/ 4491415 h 4492350"/>
                <a:gd name="connsiteX27-1899" fmla="*/ 1743740 w 3718598"/>
                <a:gd name="connsiteY27-1900" fmla="*/ 4492350 h 4492350"/>
                <a:gd name="connsiteX0-1901" fmla="*/ 1743740 w 3718598"/>
                <a:gd name="connsiteY0-1902" fmla="*/ 4492350 h 4492350"/>
                <a:gd name="connsiteX1-1903" fmla="*/ 1796903 w 3718598"/>
                <a:gd name="connsiteY1-1904" fmla="*/ 3785190 h 4492350"/>
                <a:gd name="connsiteX2-1905" fmla="*/ 1307805 w 3718598"/>
                <a:gd name="connsiteY2-1906" fmla="*/ 3381153 h 4492350"/>
                <a:gd name="connsiteX3-1907" fmla="*/ 31898 w 3718598"/>
                <a:gd name="connsiteY3-1908" fmla="*/ 2945218 h 4492350"/>
                <a:gd name="connsiteX4-1909" fmla="*/ 1127052 w 3718598"/>
                <a:gd name="connsiteY4-1910" fmla="*/ 3242930 h 4492350"/>
                <a:gd name="connsiteX5-1911" fmla="*/ 393405 w 3718598"/>
                <a:gd name="connsiteY5-1912" fmla="*/ 2456121 h 4492350"/>
                <a:gd name="connsiteX6-1913" fmla="*/ 1775638 w 3718598"/>
                <a:gd name="connsiteY6-1914" fmla="*/ 3519376 h 4492350"/>
                <a:gd name="connsiteX7-1915" fmla="*/ 1679945 w 3718598"/>
                <a:gd name="connsiteY7-1916" fmla="*/ 2392325 h 4492350"/>
                <a:gd name="connsiteX8-1917" fmla="*/ 0 w 3718598"/>
                <a:gd name="connsiteY8-1918" fmla="*/ 754911 h 4492350"/>
                <a:gd name="connsiteX9-1919" fmla="*/ 988828 w 3718598"/>
                <a:gd name="connsiteY9-1920" fmla="*/ 1924493 h 4492350"/>
                <a:gd name="connsiteX10-1921" fmla="*/ 1137684 w 3718598"/>
                <a:gd name="connsiteY10-1922" fmla="*/ 861237 h 4492350"/>
                <a:gd name="connsiteX11-1923" fmla="*/ 1222745 w 3718598"/>
                <a:gd name="connsiteY11-1924" fmla="*/ 2062716 h 4492350"/>
                <a:gd name="connsiteX12-1925" fmla="*/ 1690577 w 3718598"/>
                <a:gd name="connsiteY12-1926" fmla="*/ 2190307 h 4492350"/>
                <a:gd name="connsiteX13-1927" fmla="*/ 1956391 w 3718598"/>
                <a:gd name="connsiteY13-1928" fmla="*/ 0 h 4492350"/>
                <a:gd name="connsiteX14-1929" fmla="*/ 2083982 w 3718598"/>
                <a:gd name="connsiteY14-1930" fmla="*/ 978195 h 4492350"/>
                <a:gd name="connsiteX15-1931" fmla="*/ 1881963 w 3718598"/>
                <a:gd name="connsiteY15-1932" fmla="*/ 2232837 h 4492350"/>
                <a:gd name="connsiteX16-1933" fmla="*/ 2057494 w 3718598"/>
                <a:gd name="connsiteY16-1934" fmla="*/ 3046321 h 4492350"/>
                <a:gd name="connsiteX17-1935" fmla="*/ 2647507 w 3718598"/>
                <a:gd name="connsiteY17-1936" fmla="*/ 2519916 h 4492350"/>
                <a:gd name="connsiteX18-1937" fmla="*/ 2913694 w 3718598"/>
                <a:gd name="connsiteY18-1938" fmla="*/ 1291762 h 4492350"/>
                <a:gd name="connsiteX19-1939" fmla="*/ 2806809 w 3718598"/>
                <a:gd name="connsiteY19-1940" fmla="*/ 2383091 h 4492350"/>
                <a:gd name="connsiteX20-1941" fmla="*/ 3718598 w 3718598"/>
                <a:gd name="connsiteY20-1942" fmla="*/ 1120242 h 4492350"/>
                <a:gd name="connsiteX21-1943" fmla="*/ 2222205 w 3718598"/>
                <a:gd name="connsiteY21-1944" fmla="*/ 3370521 h 4492350"/>
                <a:gd name="connsiteX22-1945" fmla="*/ 2169042 w 3718598"/>
                <a:gd name="connsiteY22-1946" fmla="*/ 3817088 h 4492350"/>
                <a:gd name="connsiteX23-1947" fmla="*/ 3317358 w 3718598"/>
                <a:gd name="connsiteY23-1948" fmla="*/ 3094074 h 4492350"/>
                <a:gd name="connsiteX24-1949" fmla="*/ 2194317 w 3718598"/>
                <a:gd name="connsiteY24-1950" fmla="*/ 4030951 h 4492350"/>
                <a:gd name="connsiteX25-1951" fmla="*/ 2232838 w 3718598"/>
                <a:gd name="connsiteY25-1952" fmla="*/ 4476307 h 4492350"/>
                <a:gd name="connsiteX26-1953" fmla="*/ 2218194 w 3718598"/>
                <a:gd name="connsiteY26-1954" fmla="*/ 4491415 h 4492350"/>
                <a:gd name="connsiteX27-1955" fmla="*/ 1743740 w 3718598"/>
                <a:gd name="connsiteY27-1956" fmla="*/ 4492350 h 4492350"/>
                <a:gd name="connsiteX0-1957" fmla="*/ 1743740 w 3718598"/>
                <a:gd name="connsiteY0-1958" fmla="*/ 4492350 h 4492350"/>
                <a:gd name="connsiteX1-1959" fmla="*/ 1796903 w 3718598"/>
                <a:gd name="connsiteY1-1960" fmla="*/ 3785190 h 4492350"/>
                <a:gd name="connsiteX2-1961" fmla="*/ 1307805 w 3718598"/>
                <a:gd name="connsiteY2-1962" fmla="*/ 3381153 h 4492350"/>
                <a:gd name="connsiteX3-1963" fmla="*/ 31898 w 3718598"/>
                <a:gd name="connsiteY3-1964" fmla="*/ 2945218 h 4492350"/>
                <a:gd name="connsiteX4-1965" fmla="*/ 1127052 w 3718598"/>
                <a:gd name="connsiteY4-1966" fmla="*/ 3242930 h 4492350"/>
                <a:gd name="connsiteX5-1967" fmla="*/ 393405 w 3718598"/>
                <a:gd name="connsiteY5-1968" fmla="*/ 2456121 h 4492350"/>
                <a:gd name="connsiteX6-1969" fmla="*/ 1775638 w 3718598"/>
                <a:gd name="connsiteY6-1970" fmla="*/ 3519376 h 4492350"/>
                <a:gd name="connsiteX7-1971" fmla="*/ 1679945 w 3718598"/>
                <a:gd name="connsiteY7-1972" fmla="*/ 2392325 h 4492350"/>
                <a:gd name="connsiteX8-1973" fmla="*/ 0 w 3718598"/>
                <a:gd name="connsiteY8-1974" fmla="*/ 754911 h 4492350"/>
                <a:gd name="connsiteX9-1975" fmla="*/ 988828 w 3718598"/>
                <a:gd name="connsiteY9-1976" fmla="*/ 1924493 h 4492350"/>
                <a:gd name="connsiteX10-1977" fmla="*/ 1137684 w 3718598"/>
                <a:gd name="connsiteY10-1978" fmla="*/ 861237 h 4492350"/>
                <a:gd name="connsiteX11-1979" fmla="*/ 1222745 w 3718598"/>
                <a:gd name="connsiteY11-1980" fmla="*/ 2062716 h 4492350"/>
                <a:gd name="connsiteX12-1981" fmla="*/ 1690577 w 3718598"/>
                <a:gd name="connsiteY12-1982" fmla="*/ 2190307 h 4492350"/>
                <a:gd name="connsiteX13-1983" fmla="*/ 1956391 w 3718598"/>
                <a:gd name="connsiteY13-1984" fmla="*/ 0 h 4492350"/>
                <a:gd name="connsiteX14-1985" fmla="*/ 2083982 w 3718598"/>
                <a:gd name="connsiteY14-1986" fmla="*/ 978195 h 4492350"/>
                <a:gd name="connsiteX15-1987" fmla="*/ 1881963 w 3718598"/>
                <a:gd name="connsiteY15-1988" fmla="*/ 2232837 h 4492350"/>
                <a:gd name="connsiteX16-1989" fmla="*/ 2057494 w 3718598"/>
                <a:gd name="connsiteY16-1990" fmla="*/ 3046321 h 4492350"/>
                <a:gd name="connsiteX17-1991" fmla="*/ 2647507 w 3718598"/>
                <a:gd name="connsiteY17-1992" fmla="*/ 2519916 h 4492350"/>
                <a:gd name="connsiteX18-1993" fmla="*/ 2913694 w 3718598"/>
                <a:gd name="connsiteY18-1994" fmla="*/ 1291762 h 4492350"/>
                <a:gd name="connsiteX19-1995" fmla="*/ 2806809 w 3718598"/>
                <a:gd name="connsiteY19-1996" fmla="*/ 2383091 h 4492350"/>
                <a:gd name="connsiteX20-1997" fmla="*/ 3718598 w 3718598"/>
                <a:gd name="connsiteY20-1998" fmla="*/ 1120242 h 4492350"/>
                <a:gd name="connsiteX21-1999" fmla="*/ 2222205 w 3718598"/>
                <a:gd name="connsiteY21-2000" fmla="*/ 3370521 h 4492350"/>
                <a:gd name="connsiteX22-2001" fmla="*/ 2169042 w 3718598"/>
                <a:gd name="connsiteY22-2002" fmla="*/ 3817088 h 4492350"/>
                <a:gd name="connsiteX23-2003" fmla="*/ 3317358 w 3718598"/>
                <a:gd name="connsiteY23-2004" fmla="*/ 3094074 h 4492350"/>
                <a:gd name="connsiteX24-2005" fmla="*/ 2194317 w 3718598"/>
                <a:gd name="connsiteY24-2006" fmla="*/ 4030951 h 4492350"/>
                <a:gd name="connsiteX25-2007" fmla="*/ 2232838 w 3718598"/>
                <a:gd name="connsiteY25-2008" fmla="*/ 4476307 h 4492350"/>
                <a:gd name="connsiteX26-2009" fmla="*/ 2218194 w 3718598"/>
                <a:gd name="connsiteY26-2010" fmla="*/ 4491415 h 4492350"/>
                <a:gd name="connsiteX27-2011" fmla="*/ 1743740 w 3718598"/>
                <a:gd name="connsiteY27-2012" fmla="*/ 4492350 h 4492350"/>
                <a:gd name="connsiteX0-2013" fmla="*/ 1743740 w 3694535"/>
                <a:gd name="connsiteY0-2014" fmla="*/ 4492350 h 4492350"/>
                <a:gd name="connsiteX1-2015" fmla="*/ 1796903 w 3694535"/>
                <a:gd name="connsiteY1-2016" fmla="*/ 3785190 h 4492350"/>
                <a:gd name="connsiteX2-2017" fmla="*/ 1307805 w 3694535"/>
                <a:gd name="connsiteY2-2018" fmla="*/ 3381153 h 4492350"/>
                <a:gd name="connsiteX3-2019" fmla="*/ 31898 w 3694535"/>
                <a:gd name="connsiteY3-2020" fmla="*/ 2945218 h 4492350"/>
                <a:gd name="connsiteX4-2021" fmla="*/ 1127052 w 3694535"/>
                <a:gd name="connsiteY4-2022" fmla="*/ 3242930 h 4492350"/>
                <a:gd name="connsiteX5-2023" fmla="*/ 393405 w 3694535"/>
                <a:gd name="connsiteY5-2024" fmla="*/ 2456121 h 4492350"/>
                <a:gd name="connsiteX6-2025" fmla="*/ 1775638 w 3694535"/>
                <a:gd name="connsiteY6-2026" fmla="*/ 3519376 h 4492350"/>
                <a:gd name="connsiteX7-2027" fmla="*/ 1679945 w 3694535"/>
                <a:gd name="connsiteY7-2028" fmla="*/ 2392325 h 4492350"/>
                <a:gd name="connsiteX8-2029" fmla="*/ 0 w 3694535"/>
                <a:gd name="connsiteY8-2030" fmla="*/ 754911 h 4492350"/>
                <a:gd name="connsiteX9-2031" fmla="*/ 988828 w 3694535"/>
                <a:gd name="connsiteY9-2032" fmla="*/ 1924493 h 4492350"/>
                <a:gd name="connsiteX10-2033" fmla="*/ 1137684 w 3694535"/>
                <a:gd name="connsiteY10-2034" fmla="*/ 861237 h 4492350"/>
                <a:gd name="connsiteX11-2035" fmla="*/ 1222745 w 3694535"/>
                <a:gd name="connsiteY11-2036" fmla="*/ 2062716 h 4492350"/>
                <a:gd name="connsiteX12-2037" fmla="*/ 1690577 w 3694535"/>
                <a:gd name="connsiteY12-2038" fmla="*/ 2190307 h 4492350"/>
                <a:gd name="connsiteX13-2039" fmla="*/ 1956391 w 3694535"/>
                <a:gd name="connsiteY13-2040" fmla="*/ 0 h 4492350"/>
                <a:gd name="connsiteX14-2041" fmla="*/ 2083982 w 3694535"/>
                <a:gd name="connsiteY14-2042" fmla="*/ 978195 h 4492350"/>
                <a:gd name="connsiteX15-2043" fmla="*/ 1881963 w 3694535"/>
                <a:gd name="connsiteY15-2044" fmla="*/ 2232837 h 4492350"/>
                <a:gd name="connsiteX16-2045" fmla="*/ 2057494 w 3694535"/>
                <a:gd name="connsiteY16-2046" fmla="*/ 3046321 h 4492350"/>
                <a:gd name="connsiteX17-2047" fmla="*/ 2647507 w 3694535"/>
                <a:gd name="connsiteY17-2048" fmla="*/ 2519916 h 4492350"/>
                <a:gd name="connsiteX18-2049" fmla="*/ 2913694 w 3694535"/>
                <a:gd name="connsiteY18-2050" fmla="*/ 1291762 h 4492350"/>
                <a:gd name="connsiteX19-2051" fmla="*/ 2806809 w 3694535"/>
                <a:gd name="connsiteY19-2052" fmla="*/ 2383091 h 4492350"/>
                <a:gd name="connsiteX20-2053" fmla="*/ 3694535 w 3694535"/>
                <a:gd name="connsiteY20-2054" fmla="*/ 1124252 h 4492350"/>
                <a:gd name="connsiteX21-2055" fmla="*/ 2222205 w 3694535"/>
                <a:gd name="connsiteY21-2056" fmla="*/ 3370521 h 4492350"/>
                <a:gd name="connsiteX22-2057" fmla="*/ 2169042 w 3694535"/>
                <a:gd name="connsiteY22-2058" fmla="*/ 3817088 h 4492350"/>
                <a:gd name="connsiteX23-2059" fmla="*/ 3317358 w 3694535"/>
                <a:gd name="connsiteY23-2060" fmla="*/ 3094074 h 4492350"/>
                <a:gd name="connsiteX24-2061" fmla="*/ 2194317 w 3694535"/>
                <a:gd name="connsiteY24-2062" fmla="*/ 4030951 h 4492350"/>
                <a:gd name="connsiteX25-2063" fmla="*/ 2232838 w 3694535"/>
                <a:gd name="connsiteY25-2064" fmla="*/ 4476307 h 4492350"/>
                <a:gd name="connsiteX26-2065" fmla="*/ 2218194 w 3694535"/>
                <a:gd name="connsiteY26-2066" fmla="*/ 4491415 h 4492350"/>
                <a:gd name="connsiteX27-2067" fmla="*/ 1743740 w 3694535"/>
                <a:gd name="connsiteY27-2068" fmla="*/ 4492350 h 4492350"/>
                <a:gd name="connsiteX0-2069" fmla="*/ 1743740 w 3694535"/>
                <a:gd name="connsiteY0-2070" fmla="*/ 4492350 h 4492350"/>
                <a:gd name="connsiteX1-2071" fmla="*/ 1796903 w 3694535"/>
                <a:gd name="connsiteY1-2072" fmla="*/ 3785190 h 4492350"/>
                <a:gd name="connsiteX2-2073" fmla="*/ 1307805 w 3694535"/>
                <a:gd name="connsiteY2-2074" fmla="*/ 3381153 h 4492350"/>
                <a:gd name="connsiteX3-2075" fmla="*/ 31898 w 3694535"/>
                <a:gd name="connsiteY3-2076" fmla="*/ 2945218 h 4492350"/>
                <a:gd name="connsiteX4-2077" fmla="*/ 1127052 w 3694535"/>
                <a:gd name="connsiteY4-2078" fmla="*/ 3242930 h 4492350"/>
                <a:gd name="connsiteX5-2079" fmla="*/ 393405 w 3694535"/>
                <a:gd name="connsiteY5-2080" fmla="*/ 2456121 h 4492350"/>
                <a:gd name="connsiteX6-2081" fmla="*/ 1775638 w 3694535"/>
                <a:gd name="connsiteY6-2082" fmla="*/ 3519376 h 4492350"/>
                <a:gd name="connsiteX7-2083" fmla="*/ 1679945 w 3694535"/>
                <a:gd name="connsiteY7-2084" fmla="*/ 2392325 h 4492350"/>
                <a:gd name="connsiteX8-2085" fmla="*/ 0 w 3694535"/>
                <a:gd name="connsiteY8-2086" fmla="*/ 754911 h 4492350"/>
                <a:gd name="connsiteX9-2087" fmla="*/ 988828 w 3694535"/>
                <a:gd name="connsiteY9-2088" fmla="*/ 1924493 h 4492350"/>
                <a:gd name="connsiteX10-2089" fmla="*/ 1137684 w 3694535"/>
                <a:gd name="connsiteY10-2090" fmla="*/ 861237 h 4492350"/>
                <a:gd name="connsiteX11-2091" fmla="*/ 1222745 w 3694535"/>
                <a:gd name="connsiteY11-2092" fmla="*/ 2062716 h 4492350"/>
                <a:gd name="connsiteX12-2093" fmla="*/ 1690577 w 3694535"/>
                <a:gd name="connsiteY12-2094" fmla="*/ 2190307 h 4492350"/>
                <a:gd name="connsiteX13-2095" fmla="*/ 1956391 w 3694535"/>
                <a:gd name="connsiteY13-2096" fmla="*/ 0 h 4492350"/>
                <a:gd name="connsiteX14-2097" fmla="*/ 2083982 w 3694535"/>
                <a:gd name="connsiteY14-2098" fmla="*/ 978195 h 4492350"/>
                <a:gd name="connsiteX15-2099" fmla="*/ 1881963 w 3694535"/>
                <a:gd name="connsiteY15-2100" fmla="*/ 2232837 h 4492350"/>
                <a:gd name="connsiteX16-2101" fmla="*/ 2057494 w 3694535"/>
                <a:gd name="connsiteY16-2102" fmla="*/ 3046321 h 4492350"/>
                <a:gd name="connsiteX17-2103" fmla="*/ 2647507 w 3694535"/>
                <a:gd name="connsiteY17-2104" fmla="*/ 2519916 h 4492350"/>
                <a:gd name="connsiteX18-2105" fmla="*/ 2913694 w 3694535"/>
                <a:gd name="connsiteY18-2106" fmla="*/ 1291762 h 4492350"/>
                <a:gd name="connsiteX19-2107" fmla="*/ 2806809 w 3694535"/>
                <a:gd name="connsiteY19-2108" fmla="*/ 2383091 h 4492350"/>
                <a:gd name="connsiteX20-2109" fmla="*/ 3694535 w 3694535"/>
                <a:gd name="connsiteY20-2110" fmla="*/ 1124252 h 4492350"/>
                <a:gd name="connsiteX21-2111" fmla="*/ 2222205 w 3694535"/>
                <a:gd name="connsiteY21-2112" fmla="*/ 3370521 h 4492350"/>
                <a:gd name="connsiteX22-2113" fmla="*/ 2169042 w 3694535"/>
                <a:gd name="connsiteY22-2114" fmla="*/ 3817088 h 4492350"/>
                <a:gd name="connsiteX23-2115" fmla="*/ 3317358 w 3694535"/>
                <a:gd name="connsiteY23-2116" fmla="*/ 3094074 h 4492350"/>
                <a:gd name="connsiteX24-2117" fmla="*/ 2194317 w 3694535"/>
                <a:gd name="connsiteY24-2118" fmla="*/ 4030951 h 4492350"/>
                <a:gd name="connsiteX25-2119" fmla="*/ 2232838 w 3694535"/>
                <a:gd name="connsiteY25-2120" fmla="*/ 4476307 h 4492350"/>
                <a:gd name="connsiteX26-2121" fmla="*/ 2218194 w 3694535"/>
                <a:gd name="connsiteY26-2122" fmla="*/ 4491415 h 4492350"/>
                <a:gd name="connsiteX27-2123" fmla="*/ 1743740 w 3694535"/>
                <a:gd name="connsiteY27-2124" fmla="*/ 4492350 h 4492350"/>
                <a:gd name="connsiteX0-2125" fmla="*/ 1743740 w 3694535"/>
                <a:gd name="connsiteY0-2126" fmla="*/ 4492350 h 4492350"/>
                <a:gd name="connsiteX1-2127" fmla="*/ 1796903 w 3694535"/>
                <a:gd name="connsiteY1-2128" fmla="*/ 3785190 h 4492350"/>
                <a:gd name="connsiteX2-2129" fmla="*/ 1307805 w 3694535"/>
                <a:gd name="connsiteY2-2130" fmla="*/ 3381153 h 4492350"/>
                <a:gd name="connsiteX3-2131" fmla="*/ 31898 w 3694535"/>
                <a:gd name="connsiteY3-2132" fmla="*/ 2945218 h 4492350"/>
                <a:gd name="connsiteX4-2133" fmla="*/ 1127052 w 3694535"/>
                <a:gd name="connsiteY4-2134" fmla="*/ 3242930 h 4492350"/>
                <a:gd name="connsiteX5-2135" fmla="*/ 393405 w 3694535"/>
                <a:gd name="connsiteY5-2136" fmla="*/ 2456121 h 4492350"/>
                <a:gd name="connsiteX6-2137" fmla="*/ 1775638 w 3694535"/>
                <a:gd name="connsiteY6-2138" fmla="*/ 3519376 h 4492350"/>
                <a:gd name="connsiteX7-2139" fmla="*/ 1679945 w 3694535"/>
                <a:gd name="connsiteY7-2140" fmla="*/ 2392325 h 4492350"/>
                <a:gd name="connsiteX8-2141" fmla="*/ 0 w 3694535"/>
                <a:gd name="connsiteY8-2142" fmla="*/ 754911 h 4492350"/>
                <a:gd name="connsiteX9-2143" fmla="*/ 988828 w 3694535"/>
                <a:gd name="connsiteY9-2144" fmla="*/ 1924493 h 4492350"/>
                <a:gd name="connsiteX10-2145" fmla="*/ 1137684 w 3694535"/>
                <a:gd name="connsiteY10-2146" fmla="*/ 861237 h 4492350"/>
                <a:gd name="connsiteX11-2147" fmla="*/ 1222745 w 3694535"/>
                <a:gd name="connsiteY11-2148" fmla="*/ 2062716 h 4492350"/>
                <a:gd name="connsiteX12-2149" fmla="*/ 1690577 w 3694535"/>
                <a:gd name="connsiteY12-2150" fmla="*/ 2190307 h 4492350"/>
                <a:gd name="connsiteX13-2151" fmla="*/ 1956391 w 3694535"/>
                <a:gd name="connsiteY13-2152" fmla="*/ 0 h 4492350"/>
                <a:gd name="connsiteX14-2153" fmla="*/ 2083982 w 3694535"/>
                <a:gd name="connsiteY14-2154" fmla="*/ 978195 h 4492350"/>
                <a:gd name="connsiteX15-2155" fmla="*/ 1881963 w 3694535"/>
                <a:gd name="connsiteY15-2156" fmla="*/ 2232837 h 4492350"/>
                <a:gd name="connsiteX16-2157" fmla="*/ 2057494 w 3694535"/>
                <a:gd name="connsiteY16-2158" fmla="*/ 3046321 h 4492350"/>
                <a:gd name="connsiteX17-2159" fmla="*/ 2647507 w 3694535"/>
                <a:gd name="connsiteY17-2160" fmla="*/ 2519916 h 4492350"/>
                <a:gd name="connsiteX18-2161" fmla="*/ 2913694 w 3694535"/>
                <a:gd name="connsiteY18-2162" fmla="*/ 1291762 h 4492350"/>
                <a:gd name="connsiteX19-2163" fmla="*/ 2806809 w 3694535"/>
                <a:gd name="connsiteY19-2164" fmla="*/ 2383091 h 4492350"/>
                <a:gd name="connsiteX20-2165" fmla="*/ 3694535 w 3694535"/>
                <a:gd name="connsiteY20-2166" fmla="*/ 1124252 h 4492350"/>
                <a:gd name="connsiteX21-2167" fmla="*/ 2222205 w 3694535"/>
                <a:gd name="connsiteY21-2168" fmla="*/ 3370521 h 4492350"/>
                <a:gd name="connsiteX22-2169" fmla="*/ 2169042 w 3694535"/>
                <a:gd name="connsiteY22-2170" fmla="*/ 3817088 h 4492350"/>
                <a:gd name="connsiteX23-2171" fmla="*/ 3317358 w 3694535"/>
                <a:gd name="connsiteY23-2172" fmla="*/ 3094074 h 4492350"/>
                <a:gd name="connsiteX24-2173" fmla="*/ 2194317 w 3694535"/>
                <a:gd name="connsiteY24-2174" fmla="*/ 4030951 h 4492350"/>
                <a:gd name="connsiteX25-2175" fmla="*/ 2232838 w 3694535"/>
                <a:gd name="connsiteY25-2176" fmla="*/ 4476307 h 4492350"/>
                <a:gd name="connsiteX26-2177" fmla="*/ 2218194 w 3694535"/>
                <a:gd name="connsiteY26-2178" fmla="*/ 4491415 h 4492350"/>
                <a:gd name="connsiteX27-2179" fmla="*/ 1743740 w 3694535"/>
                <a:gd name="connsiteY27-2180" fmla="*/ 4492350 h 4492350"/>
                <a:gd name="connsiteX0-2181" fmla="*/ 1743740 w 3694535"/>
                <a:gd name="connsiteY0-2182" fmla="*/ 4492350 h 4492350"/>
                <a:gd name="connsiteX1-2183" fmla="*/ 1796903 w 3694535"/>
                <a:gd name="connsiteY1-2184" fmla="*/ 3785190 h 4492350"/>
                <a:gd name="connsiteX2-2185" fmla="*/ 1307805 w 3694535"/>
                <a:gd name="connsiteY2-2186" fmla="*/ 3381153 h 4492350"/>
                <a:gd name="connsiteX3-2187" fmla="*/ 31898 w 3694535"/>
                <a:gd name="connsiteY3-2188" fmla="*/ 2945218 h 4492350"/>
                <a:gd name="connsiteX4-2189" fmla="*/ 1127052 w 3694535"/>
                <a:gd name="connsiteY4-2190" fmla="*/ 3242930 h 4492350"/>
                <a:gd name="connsiteX5-2191" fmla="*/ 393405 w 3694535"/>
                <a:gd name="connsiteY5-2192" fmla="*/ 2456121 h 4492350"/>
                <a:gd name="connsiteX6-2193" fmla="*/ 1775638 w 3694535"/>
                <a:gd name="connsiteY6-2194" fmla="*/ 3519376 h 4492350"/>
                <a:gd name="connsiteX7-2195" fmla="*/ 1679945 w 3694535"/>
                <a:gd name="connsiteY7-2196" fmla="*/ 2392325 h 4492350"/>
                <a:gd name="connsiteX8-2197" fmla="*/ 0 w 3694535"/>
                <a:gd name="connsiteY8-2198" fmla="*/ 754911 h 4492350"/>
                <a:gd name="connsiteX9-2199" fmla="*/ 988828 w 3694535"/>
                <a:gd name="connsiteY9-2200" fmla="*/ 1924493 h 4492350"/>
                <a:gd name="connsiteX10-2201" fmla="*/ 1137684 w 3694535"/>
                <a:gd name="connsiteY10-2202" fmla="*/ 861237 h 4492350"/>
                <a:gd name="connsiteX11-2203" fmla="*/ 1222745 w 3694535"/>
                <a:gd name="connsiteY11-2204" fmla="*/ 2062716 h 4492350"/>
                <a:gd name="connsiteX12-2205" fmla="*/ 1690577 w 3694535"/>
                <a:gd name="connsiteY12-2206" fmla="*/ 2190307 h 4492350"/>
                <a:gd name="connsiteX13-2207" fmla="*/ 1956391 w 3694535"/>
                <a:gd name="connsiteY13-2208" fmla="*/ 0 h 4492350"/>
                <a:gd name="connsiteX14-2209" fmla="*/ 2083982 w 3694535"/>
                <a:gd name="connsiteY14-2210" fmla="*/ 978195 h 4492350"/>
                <a:gd name="connsiteX15-2211" fmla="*/ 1881963 w 3694535"/>
                <a:gd name="connsiteY15-2212" fmla="*/ 2232837 h 4492350"/>
                <a:gd name="connsiteX16-2213" fmla="*/ 2057494 w 3694535"/>
                <a:gd name="connsiteY16-2214" fmla="*/ 3046321 h 4492350"/>
                <a:gd name="connsiteX17-2215" fmla="*/ 2647507 w 3694535"/>
                <a:gd name="connsiteY17-2216" fmla="*/ 2519916 h 4492350"/>
                <a:gd name="connsiteX18-2217" fmla="*/ 2913694 w 3694535"/>
                <a:gd name="connsiteY18-2218" fmla="*/ 1291762 h 4492350"/>
                <a:gd name="connsiteX19-2219" fmla="*/ 2806809 w 3694535"/>
                <a:gd name="connsiteY19-2220" fmla="*/ 2383091 h 4492350"/>
                <a:gd name="connsiteX20-2221" fmla="*/ 3694535 w 3694535"/>
                <a:gd name="connsiteY20-2222" fmla="*/ 1124252 h 4492350"/>
                <a:gd name="connsiteX21-2223" fmla="*/ 2222205 w 3694535"/>
                <a:gd name="connsiteY21-2224" fmla="*/ 3370521 h 4492350"/>
                <a:gd name="connsiteX22-2225" fmla="*/ 2169042 w 3694535"/>
                <a:gd name="connsiteY22-2226" fmla="*/ 3817088 h 4492350"/>
                <a:gd name="connsiteX23-2227" fmla="*/ 3317358 w 3694535"/>
                <a:gd name="connsiteY23-2228" fmla="*/ 3094074 h 4492350"/>
                <a:gd name="connsiteX24-2229" fmla="*/ 2194317 w 3694535"/>
                <a:gd name="connsiteY24-2230" fmla="*/ 4030951 h 4492350"/>
                <a:gd name="connsiteX25-2231" fmla="*/ 2232838 w 3694535"/>
                <a:gd name="connsiteY25-2232" fmla="*/ 4476307 h 4492350"/>
                <a:gd name="connsiteX26-2233" fmla="*/ 2218194 w 3694535"/>
                <a:gd name="connsiteY26-2234" fmla="*/ 4491415 h 4492350"/>
                <a:gd name="connsiteX27-2235" fmla="*/ 1743740 w 3694535"/>
                <a:gd name="connsiteY27-2236" fmla="*/ 4492350 h 4492350"/>
                <a:gd name="connsiteX0-2237" fmla="*/ 1743740 w 3694535"/>
                <a:gd name="connsiteY0-2238" fmla="*/ 4492350 h 4492350"/>
                <a:gd name="connsiteX1-2239" fmla="*/ 1796903 w 3694535"/>
                <a:gd name="connsiteY1-2240" fmla="*/ 3785190 h 4492350"/>
                <a:gd name="connsiteX2-2241" fmla="*/ 1307805 w 3694535"/>
                <a:gd name="connsiteY2-2242" fmla="*/ 3381153 h 4492350"/>
                <a:gd name="connsiteX3-2243" fmla="*/ 31898 w 3694535"/>
                <a:gd name="connsiteY3-2244" fmla="*/ 2945218 h 4492350"/>
                <a:gd name="connsiteX4-2245" fmla="*/ 1127052 w 3694535"/>
                <a:gd name="connsiteY4-2246" fmla="*/ 3242930 h 4492350"/>
                <a:gd name="connsiteX5-2247" fmla="*/ 393405 w 3694535"/>
                <a:gd name="connsiteY5-2248" fmla="*/ 2456121 h 4492350"/>
                <a:gd name="connsiteX6-2249" fmla="*/ 1775638 w 3694535"/>
                <a:gd name="connsiteY6-2250" fmla="*/ 3519376 h 4492350"/>
                <a:gd name="connsiteX7-2251" fmla="*/ 1679945 w 3694535"/>
                <a:gd name="connsiteY7-2252" fmla="*/ 2392325 h 4492350"/>
                <a:gd name="connsiteX8-2253" fmla="*/ 0 w 3694535"/>
                <a:gd name="connsiteY8-2254" fmla="*/ 754911 h 4492350"/>
                <a:gd name="connsiteX9-2255" fmla="*/ 988828 w 3694535"/>
                <a:gd name="connsiteY9-2256" fmla="*/ 1924493 h 4492350"/>
                <a:gd name="connsiteX10-2257" fmla="*/ 1137684 w 3694535"/>
                <a:gd name="connsiteY10-2258" fmla="*/ 861237 h 4492350"/>
                <a:gd name="connsiteX11-2259" fmla="*/ 1222745 w 3694535"/>
                <a:gd name="connsiteY11-2260" fmla="*/ 2062716 h 4492350"/>
                <a:gd name="connsiteX12-2261" fmla="*/ 1690577 w 3694535"/>
                <a:gd name="connsiteY12-2262" fmla="*/ 2190307 h 4492350"/>
                <a:gd name="connsiteX13-2263" fmla="*/ 1956391 w 3694535"/>
                <a:gd name="connsiteY13-2264" fmla="*/ 0 h 4492350"/>
                <a:gd name="connsiteX14-2265" fmla="*/ 2083982 w 3694535"/>
                <a:gd name="connsiteY14-2266" fmla="*/ 978195 h 4492350"/>
                <a:gd name="connsiteX15-2267" fmla="*/ 1881963 w 3694535"/>
                <a:gd name="connsiteY15-2268" fmla="*/ 2232837 h 4492350"/>
                <a:gd name="connsiteX16-2269" fmla="*/ 2057494 w 3694535"/>
                <a:gd name="connsiteY16-2270" fmla="*/ 3046321 h 4492350"/>
                <a:gd name="connsiteX17-2271" fmla="*/ 2647507 w 3694535"/>
                <a:gd name="connsiteY17-2272" fmla="*/ 2519916 h 4492350"/>
                <a:gd name="connsiteX18-2273" fmla="*/ 2913694 w 3694535"/>
                <a:gd name="connsiteY18-2274" fmla="*/ 1291762 h 4492350"/>
                <a:gd name="connsiteX19-2275" fmla="*/ 2806809 w 3694535"/>
                <a:gd name="connsiteY19-2276" fmla="*/ 2383091 h 4492350"/>
                <a:gd name="connsiteX20-2277" fmla="*/ 3694535 w 3694535"/>
                <a:gd name="connsiteY20-2278" fmla="*/ 1124252 h 4492350"/>
                <a:gd name="connsiteX21-2279" fmla="*/ 2222205 w 3694535"/>
                <a:gd name="connsiteY21-2280" fmla="*/ 3370521 h 4492350"/>
                <a:gd name="connsiteX22-2281" fmla="*/ 2169042 w 3694535"/>
                <a:gd name="connsiteY22-2282" fmla="*/ 3817088 h 4492350"/>
                <a:gd name="connsiteX23-2283" fmla="*/ 3317358 w 3694535"/>
                <a:gd name="connsiteY23-2284" fmla="*/ 3094074 h 4492350"/>
                <a:gd name="connsiteX24-2285" fmla="*/ 2194317 w 3694535"/>
                <a:gd name="connsiteY24-2286" fmla="*/ 4030951 h 4492350"/>
                <a:gd name="connsiteX25-2287" fmla="*/ 2232838 w 3694535"/>
                <a:gd name="connsiteY25-2288" fmla="*/ 4476307 h 4492350"/>
                <a:gd name="connsiteX26-2289" fmla="*/ 2218194 w 3694535"/>
                <a:gd name="connsiteY26-2290" fmla="*/ 4491415 h 4492350"/>
                <a:gd name="connsiteX27-2291" fmla="*/ 1743740 w 3694535"/>
                <a:gd name="connsiteY27-2292" fmla="*/ 4492350 h 4492350"/>
                <a:gd name="connsiteX0-2293" fmla="*/ 1743740 w 3694535"/>
                <a:gd name="connsiteY0-2294" fmla="*/ 4492350 h 4492350"/>
                <a:gd name="connsiteX1-2295" fmla="*/ 1796903 w 3694535"/>
                <a:gd name="connsiteY1-2296" fmla="*/ 3785190 h 4492350"/>
                <a:gd name="connsiteX2-2297" fmla="*/ 1307805 w 3694535"/>
                <a:gd name="connsiteY2-2298" fmla="*/ 3381153 h 4492350"/>
                <a:gd name="connsiteX3-2299" fmla="*/ 31898 w 3694535"/>
                <a:gd name="connsiteY3-2300" fmla="*/ 2945218 h 4492350"/>
                <a:gd name="connsiteX4-2301" fmla="*/ 1127052 w 3694535"/>
                <a:gd name="connsiteY4-2302" fmla="*/ 3242930 h 4492350"/>
                <a:gd name="connsiteX5-2303" fmla="*/ 393405 w 3694535"/>
                <a:gd name="connsiteY5-2304" fmla="*/ 2456121 h 4492350"/>
                <a:gd name="connsiteX6-2305" fmla="*/ 1775638 w 3694535"/>
                <a:gd name="connsiteY6-2306" fmla="*/ 3519376 h 4492350"/>
                <a:gd name="connsiteX7-2307" fmla="*/ 1679945 w 3694535"/>
                <a:gd name="connsiteY7-2308" fmla="*/ 2392325 h 4492350"/>
                <a:gd name="connsiteX8-2309" fmla="*/ 0 w 3694535"/>
                <a:gd name="connsiteY8-2310" fmla="*/ 754911 h 4492350"/>
                <a:gd name="connsiteX9-2311" fmla="*/ 988828 w 3694535"/>
                <a:gd name="connsiteY9-2312" fmla="*/ 1924493 h 4492350"/>
                <a:gd name="connsiteX10-2313" fmla="*/ 1137684 w 3694535"/>
                <a:gd name="connsiteY10-2314" fmla="*/ 861237 h 4492350"/>
                <a:gd name="connsiteX11-2315" fmla="*/ 1222745 w 3694535"/>
                <a:gd name="connsiteY11-2316" fmla="*/ 2062716 h 4492350"/>
                <a:gd name="connsiteX12-2317" fmla="*/ 1690577 w 3694535"/>
                <a:gd name="connsiteY12-2318" fmla="*/ 2190307 h 4492350"/>
                <a:gd name="connsiteX13-2319" fmla="*/ 1956391 w 3694535"/>
                <a:gd name="connsiteY13-2320" fmla="*/ 0 h 4492350"/>
                <a:gd name="connsiteX14-2321" fmla="*/ 2083982 w 3694535"/>
                <a:gd name="connsiteY14-2322" fmla="*/ 978195 h 4492350"/>
                <a:gd name="connsiteX15-2323" fmla="*/ 1881963 w 3694535"/>
                <a:gd name="connsiteY15-2324" fmla="*/ 2232837 h 4492350"/>
                <a:gd name="connsiteX16-2325" fmla="*/ 2057494 w 3694535"/>
                <a:gd name="connsiteY16-2326" fmla="*/ 3046321 h 4492350"/>
                <a:gd name="connsiteX17-2327" fmla="*/ 2647507 w 3694535"/>
                <a:gd name="connsiteY17-2328" fmla="*/ 2519916 h 4492350"/>
                <a:gd name="connsiteX18-2329" fmla="*/ 2913694 w 3694535"/>
                <a:gd name="connsiteY18-2330" fmla="*/ 1291762 h 4492350"/>
                <a:gd name="connsiteX19-2331" fmla="*/ 2806809 w 3694535"/>
                <a:gd name="connsiteY19-2332" fmla="*/ 2383091 h 4492350"/>
                <a:gd name="connsiteX20-2333" fmla="*/ 3694535 w 3694535"/>
                <a:gd name="connsiteY20-2334" fmla="*/ 1124252 h 4492350"/>
                <a:gd name="connsiteX21-2335" fmla="*/ 2222205 w 3694535"/>
                <a:gd name="connsiteY21-2336" fmla="*/ 3370521 h 4492350"/>
                <a:gd name="connsiteX22-2337" fmla="*/ 2169042 w 3694535"/>
                <a:gd name="connsiteY22-2338" fmla="*/ 3817088 h 4492350"/>
                <a:gd name="connsiteX23-2339" fmla="*/ 3317358 w 3694535"/>
                <a:gd name="connsiteY23-2340" fmla="*/ 3094074 h 4492350"/>
                <a:gd name="connsiteX24-2341" fmla="*/ 2194317 w 3694535"/>
                <a:gd name="connsiteY24-2342" fmla="*/ 4030951 h 4492350"/>
                <a:gd name="connsiteX25-2343" fmla="*/ 2232838 w 3694535"/>
                <a:gd name="connsiteY25-2344" fmla="*/ 4476307 h 4492350"/>
                <a:gd name="connsiteX26-2345" fmla="*/ 2218194 w 3694535"/>
                <a:gd name="connsiteY26-2346" fmla="*/ 4491415 h 4492350"/>
                <a:gd name="connsiteX27-2347" fmla="*/ 1743740 w 3694535"/>
                <a:gd name="connsiteY27-2348" fmla="*/ 4492350 h 4492350"/>
                <a:gd name="connsiteX0-2349" fmla="*/ 1743740 w 3694535"/>
                <a:gd name="connsiteY0-2350" fmla="*/ 4492350 h 4492350"/>
                <a:gd name="connsiteX1-2351" fmla="*/ 1796903 w 3694535"/>
                <a:gd name="connsiteY1-2352" fmla="*/ 3785190 h 4492350"/>
                <a:gd name="connsiteX2-2353" fmla="*/ 1307805 w 3694535"/>
                <a:gd name="connsiteY2-2354" fmla="*/ 3381153 h 4492350"/>
                <a:gd name="connsiteX3-2355" fmla="*/ 31898 w 3694535"/>
                <a:gd name="connsiteY3-2356" fmla="*/ 2945218 h 4492350"/>
                <a:gd name="connsiteX4-2357" fmla="*/ 1127052 w 3694535"/>
                <a:gd name="connsiteY4-2358" fmla="*/ 3242930 h 4492350"/>
                <a:gd name="connsiteX5-2359" fmla="*/ 393405 w 3694535"/>
                <a:gd name="connsiteY5-2360" fmla="*/ 2456121 h 4492350"/>
                <a:gd name="connsiteX6-2361" fmla="*/ 1775638 w 3694535"/>
                <a:gd name="connsiteY6-2362" fmla="*/ 3519376 h 4492350"/>
                <a:gd name="connsiteX7-2363" fmla="*/ 1679945 w 3694535"/>
                <a:gd name="connsiteY7-2364" fmla="*/ 2392325 h 4492350"/>
                <a:gd name="connsiteX8-2365" fmla="*/ 0 w 3694535"/>
                <a:gd name="connsiteY8-2366" fmla="*/ 754911 h 4492350"/>
                <a:gd name="connsiteX9-2367" fmla="*/ 988828 w 3694535"/>
                <a:gd name="connsiteY9-2368" fmla="*/ 1924493 h 4492350"/>
                <a:gd name="connsiteX10-2369" fmla="*/ 1137684 w 3694535"/>
                <a:gd name="connsiteY10-2370" fmla="*/ 861237 h 4492350"/>
                <a:gd name="connsiteX11-2371" fmla="*/ 1222745 w 3694535"/>
                <a:gd name="connsiteY11-2372" fmla="*/ 2062716 h 4492350"/>
                <a:gd name="connsiteX12-2373" fmla="*/ 1690577 w 3694535"/>
                <a:gd name="connsiteY12-2374" fmla="*/ 2190307 h 4492350"/>
                <a:gd name="connsiteX13-2375" fmla="*/ 1956391 w 3694535"/>
                <a:gd name="connsiteY13-2376" fmla="*/ 0 h 4492350"/>
                <a:gd name="connsiteX14-2377" fmla="*/ 2083982 w 3694535"/>
                <a:gd name="connsiteY14-2378" fmla="*/ 978195 h 4492350"/>
                <a:gd name="connsiteX15-2379" fmla="*/ 1881963 w 3694535"/>
                <a:gd name="connsiteY15-2380" fmla="*/ 2232837 h 4492350"/>
                <a:gd name="connsiteX16-2381" fmla="*/ 2057494 w 3694535"/>
                <a:gd name="connsiteY16-2382" fmla="*/ 3046321 h 4492350"/>
                <a:gd name="connsiteX17-2383" fmla="*/ 2647507 w 3694535"/>
                <a:gd name="connsiteY17-2384" fmla="*/ 2519916 h 4492350"/>
                <a:gd name="connsiteX18-2385" fmla="*/ 2913694 w 3694535"/>
                <a:gd name="connsiteY18-2386" fmla="*/ 1291762 h 4492350"/>
                <a:gd name="connsiteX19-2387" fmla="*/ 2806809 w 3694535"/>
                <a:gd name="connsiteY19-2388" fmla="*/ 2383091 h 4492350"/>
                <a:gd name="connsiteX20-2389" fmla="*/ 3694535 w 3694535"/>
                <a:gd name="connsiteY20-2390" fmla="*/ 1124252 h 4492350"/>
                <a:gd name="connsiteX21-2391" fmla="*/ 2222205 w 3694535"/>
                <a:gd name="connsiteY21-2392" fmla="*/ 3370521 h 4492350"/>
                <a:gd name="connsiteX22-2393" fmla="*/ 2169042 w 3694535"/>
                <a:gd name="connsiteY22-2394" fmla="*/ 3817088 h 4492350"/>
                <a:gd name="connsiteX23-2395" fmla="*/ 3317358 w 3694535"/>
                <a:gd name="connsiteY23-2396" fmla="*/ 3094074 h 4492350"/>
                <a:gd name="connsiteX24-2397" fmla="*/ 2194317 w 3694535"/>
                <a:gd name="connsiteY24-2398" fmla="*/ 4030951 h 4492350"/>
                <a:gd name="connsiteX25-2399" fmla="*/ 2232838 w 3694535"/>
                <a:gd name="connsiteY25-2400" fmla="*/ 4476307 h 4492350"/>
                <a:gd name="connsiteX26-2401" fmla="*/ 2218194 w 3694535"/>
                <a:gd name="connsiteY26-2402" fmla="*/ 4491415 h 4492350"/>
                <a:gd name="connsiteX27-2403" fmla="*/ 1743740 w 3694535"/>
                <a:gd name="connsiteY27-2404" fmla="*/ 4492350 h 4492350"/>
                <a:gd name="connsiteX0-2405" fmla="*/ 1743740 w 3694535"/>
                <a:gd name="connsiteY0-2406" fmla="*/ 4492350 h 4492350"/>
                <a:gd name="connsiteX1-2407" fmla="*/ 1796903 w 3694535"/>
                <a:gd name="connsiteY1-2408" fmla="*/ 3785190 h 4492350"/>
                <a:gd name="connsiteX2-2409" fmla="*/ 1307805 w 3694535"/>
                <a:gd name="connsiteY2-2410" fmla="*/ 3381153 h 4492350"/>
                <a:gd name="connsiteX3-2411" fmla="*/ 31898 w 3694535"/>
                <a:gd name="connsiteY3-2412" fmla="*/ 2945218 h 4492350"/>
                <a:gd name="connsiteX4-2413" fmla="*/ 1127052 w 3694535"/>
                <a:gd name="connsiteY4-2414" fmla="*/ 3242930 h 4492350"/>
                <a:gd name="connsiteX5-2415" fmla="*/ 393405 w 3694535"/>
                <a:gd name="connsiteY5-2416" fmla="*/ 2456121 h 4492350"/>
                <a:gd name="connsiteX6-2417" fmla="*/ 1775638 w 3694535"/>
                <a:gd name="connsiteY6-2418" fmla="*/ 3519376 h 4492350"/>
                <a:gd name="connsiteX7-2419" fmla="*/ 1679945 w 3694535"/>
                <a:gd name="connsiteY7-2420" fmla="*/ 2392325 h 4492350"/>
                <a:gd name="connsiteX8-2421" fmla="*/ 0 w 3694535"/>
                <a:gd name="connsiteY8-2422" fmla="*/ 754911 h 4492350"/>
                <a:gd name="connsiteX9-2423" fmla="*/ 988828 w 3694535"/>
                <a:gd name="connsiteY9-2424" fmla="*/ 1924493 h 4492350"/>
                <a:gd name="connsiteX10-2425" fmla="*/ 1137684 w 3694535"/>
                <a:gd name="connsiteY10-2426" fmla="*/ 861237 h 4492350"/>
                <a:gd name="connsiteX11-2427" fmla="*/ 1222745 w 3694535"/>
                <a:gd name="connsiteY11-2428" fmla="*/ 2062716 h 4492350"/>
                <a:gd name="connsiteX12-2429" fmla="*/ 1690577 w 3694535"/>
                <a:gd name="connsiteY12-2430" fmla="*/ 2190307 h 4492350"/>
                <a:gd name="connsiteX13-2431" fmla="*/ 1956391 w 3694535"/>
                <a:gd name="connsiteY13-2432" fmla="*/ 0 h 4492350"/>
                <a:gd name="connsiteX14-2433" fmla="*/ 2083982 w 3694535"/>
                <a:gd name="connsiteY14-2434" fmla="*/ 978195 h 4492350"/>
                <a:gd name="connsiteX15-2435" fmla="*/ 1881963 w 3694535"/>
                <a:gd name="connsiteY15-2436" fmla="*/ 2232837 h 4492350"/>
                <a:gd name="connsiteX16-2437" fmla="*/ 2057494 w 3694535"/>
                <a:gd name="connsiteY16-2438" fmla="*/ 3046321 h 4492350"/>
                <a:gd name="connsiteX17-2439" fmla="*/ 2647507 w 3694535"/>
                <a:gd name="connsiteY17-2440" fmla="*/ 2519916 h 4492350"/>
                <a:gd name="connsiteX18-2441" fmla="*/ 2913694 w 3694535"/>
                <a:gd name="connsiteY18-2442" fmla="*/ 1291762 h 4492350"/>
                <a:gd name="connsiteX19-2443" fmla="*/ 2806809 w 3694535"/>
                <a:gd name="connsiteY19-2444" fmla="*/ 2383091 h 4492350"/>
                <a:gd name="connsiteX20-2445" fmla="*/ 3694535 w 3694535"/>
                <a:gd name="connsiteY20-2446" fmla="*/ 1124252 h 4492350"/>
                <a:gd name="connsiteX21-2447" fmla="*/ 2222205 w 3694535"/>
                <a:gd name="connsiteY21-2448" fmla="*/ 3370521 h 4492350"/>
                <a:gd name="connsiteX22-2449" fmla="*/ 2169042 w 3694535"/>
                <a:gd name="connsiteY22-2450" fmla="*/ 3817088 h 4492350"/>
                <a:gd name="connsiteX23-2451" fmla="*/ 3317358 w 3694535"/>
                <a:gd name="connsiteY23-2452" fmla="*/ 3094074 h 4492350"/>
                <a:gd name="connsiteX24-2453" fmla="*/ 2194317 w 3694535"/>
                <a:gd name="connsiteY24-2454" fmla="*/ 4030951 h 4492350"/>
                <a:gd name="connsiteX25-2455" fmla="*/ 2232838 w 3694535"/>
                <a:gd name="connsiteY25-2456" fmla="*/ 4476307 h 4492350"/>
                <a:gd name="connsiteX26-2457" fmla="*/ 2218194 w 3694535"/>
                <a:gd name="connsiteY26-2458" fmla="*/ 4491415 h 4492350"/>
                <a:gd name="connsiteX27-2459" fmla="*/ 1743740 w 3694535"/>
                <a:gd name="connsiteY27-2460" fmla="*/ 4492350 h 4492350"/>
                <a:gd name="connsiteX0-2461" fmla="*/ 1743740 w 3694535"/>
                <a:gd name="connsiteY0-2462" fmla="*/ 4492350 h 4492350"/>
                <a:gd name="connsiteX1-2463" fmla="*/ 1796903 w 3694535"/>
                <a:gd name="connsiteY1-2464" fmla="*/ 3785190 h 4492350"/>
                <a:gd name="connsiteX2-2465" fmla="*/ 1307805 w 3694535"/>
                <a:gd name="connsiteY2-2466" fmla="*/ 3381153 h 4492350"/>
                <a:gd name="connsiteX3-2467" fmla="*/ 31898 w 3694535"/>
                <a:gd name="connsiteY3-2468" fmla="*/ 2945218 h 4492350"/>
                <a:gd name="connsiteX4-2469" fmla="*/ 1127052 w 3694535"/>
                <a:gd name="connsiteY4-2470" fmla="*/ 3242930 h 4492350"/>
                <a:gd name="connsiteX5-2471" fmla="*/ 393405 w 3694535"/>
                <a:gd name="connsiteY5-2472" fmla="*/ 2456121 h 4492350"/>
                <a:gd name="connsiteX6-2473" fmla="*/ 1775638 w 3694535"/>
                <a:gd name="connsiteY6-2474" fmla="*/ 3519376 h 4492350"/>
                <a:gd name="connsiteX7-2475" fmla="*/ 1679945 w 3694535"/>
                <a:gd name="connsiteY7-2476" fmla="*/ 2392325 h 4492350"/>
                <a:gd name="connsiteX8-2477" fmla="*/ 0 w 3694535"/>
                <a:gd name="connsiteY8-2478" fmla="*/ 754911 h 4492350"/>
                <a:gd name="connsiteX9-2479" fmla="*/ 988828 w 3694535"/>
                <a:gd name="connsiteY9-2480" fmla="*/ 1924493 h 4492350"/>
                <a:gd name="connsiteX10-2481" fmla="*/ 1137684 w 3694535"/>
                <a:gd name="connsiteY10-2482" fmla="*/ 861237 h 4492350"/>
                <a:gd name="connsiteX11-2483" fmla="*/ 1222745 w 3694535"/>
                <a:gd name="connsiteY11-2484" fmla="*/ 2062716 h 4492350"/>
                <a:gd name="connsiteX12-2485" fmla="*/ 1690577 w 3694535"/>
                <a:gd name="connsiteY12-2486" fmla="*/ 2190307 h 4492350"/>
                <a:gd name="connsiteX13-2487" fmla="*/ 1956391 w 3694535"/>
                <a:gd name="connsiteY13-2488" fmla="*/ 0 h 4492350"/>
                <a:gd name="connsiteX14-2489" fmla="*/ 2083982 w 3694535"/>
                <a:gd name="connsiteY14-2490" fmla="*/ 978195 h 4492350"/>
                <a:gd name="connsiteX15-2491" fmla="*/ 1881963 w 3694535"/>
                <a:gd name="connsiteY15-2492" fmla="*/ 2232837 h 4492350"/>
                <a:gd name="connsiteX16-2493" fmla="*/ 2057494 w 3694535"/>
                <a:gd name="connsiteY16-2494" fmla="*/ 3046321 h 4492350"/>
                <a:gd name="connsiteX17-2495" fmla="*/ 2647507 w 3694535"/>
                <a:gd name="connsiteY17-2496" fmla="*/ 2519916 h 4492350"/>
                <a:gd name="connsiteX18-2497" fmla="*/ 2913694 w 3694535"/>
                <a:gd name="connsiteY18-2498" fmla="*/ 1291762 h 4492350"/>
                <a:gd name="connsiteX19-2499" fmla="*/ 2806809 w 3694535"/>
                <a:gd name="connsiteY19-2500" fmla="*/ 2383091 h 4492350"/>
                <a:gd name="connsiteX20-2501" fmla="*/ 3694535 w 3694535"/>
                <a:gd name="connsiteY20-2502" fmla="*/ 1124252 h 4492350"/>
                <a:gd name="connsiteX21-2503" fmla="*/ 2222205 w 3694535"/>
                <a:gd name="connsiteY21-2504" fmla="*/ 3370521 h 4492350"/>
                <a:gd name="connsiteX22-2505" fmla="*/ 2169042 w 3694535"/>
                <a:gd name="connsiteY22-2506" fmla="*/ 3817088 h 4492350"/>
                <a:gd name="connsiteX23-2507" fmla="*/ 3317358 w 3694535"/>
                <a:gd name="connsiteY23-2508" fmla="*/ 3094074 h 4492350"/>
                <a:gd name="connsiteX24-2509" fmla="*/ 2194317 w 3694535"/>
                <a:gd name="connsiteY24-2510" fmla="*/ 4030951 h 4492350"/>
                <a:gd name="connsiteX25-2511" fmla="*/ 2232838 w 3694535"/>
                <a:gd name="connsiteY25-2512" fmla="*/ 4476307 h 4492350"/>
                <a:gd name="connsiteX26-2513" fmla="*/ 2218194 w 3694535"/>
                <a:gd name="connsiteY26-2514" fmla="*/ 4491415 h 4492350"/>
                <a:gd name="connsiteX27-2515" fmla="*/ 1743740 w 3694535"/>
                <a:gd name="connsiteY27-2516" fmla="*/ 4492350 h 4492350"/>
                <a:gd name="connsiteX0-2517" fmla="*/ 1743740 w 3694535"/>
                <a:gd name="connsiteY0-2518" fmla="*/ 4492350 h 4492350"/>
                <a:gd name="connsiteX1-2519" fmla="*/ 1796903 w 3694535"/>
                <a:gd name="connsiteY1-2520" fmla="*/ 3785190 h 4492350"/>
                <a:gd name="connsiteX2-2521" fmla="*/ 1307805 w 3694535"/>
                <a:gd name="connsiteY2-2522" fmla="*/ 3381153 h 4492350"/>
                <a:gd name="connsiteX3-2523" fmla="*/ 31898 w 3694535"/>
                <a:gd name="connsiteY3-2524" fmla="*/ 2945218 h 4492350"/>
                <a:gd name="connsiteX4-2525" fmla="*/ 1127052 w 3694535"/>
                <a:gd name="connsiteY4-2526" fmla="*/ 3242930 h 4492350"/>
                <a:gd name="connsiteX5-2527" fmla="*/ 393405 w 3694535"/>
                <a:gd name="connsiteY5-2528" fmla="*/ 2456121 h 4492350"/>
                <a:gd name="connsiteX6-2529" fmla="*/ 1775638 w 3694535"/>
                <a:gd name="connsiteY6-2530" fmla="*/ 3519376 h 4492350"/>
                <a:gd name="connsiteX7-2531" fmla="*/ 1679945 w 3694535"/>
                <a:gd name="connsiteY7-2532" fmla="*/ 2392325 h 4492350"/>
                <a:gd name="connsiteX8-2533" fmla="*/ 0 w 3694535"/>
                <a:gd name="connsiteY8-2534" fmla="*/ 754911 h 4492350"/>
                <a:gd name="connsiteX9-2535" fmla="*/ 988828 w 3694535"/>
                <a:gd name="connsiteY9-2536" fmla="*/ 1924493 h 4492350"/>
                <a:gd name="connsiteX10-2537" fmla="*/ 1137684 w 3694535"/>
                <a:gd name="connsiteY10-2538" fmla="*/ 861237 h 4492350"/>
                <a:gd name="connsiteX11-2539" fmla="*/ 1222745 w 3694535"/>
                <a:gd name="connsiteY11-2540" fmla="*/ 2062716 h 4492350"/>
                <a:gd name="connsiteX12-2541" fmla="*/ 1690577 w 3694535"/>
                <a:gd name="connsiteY12-2542" fmla="*/ 2190307 h 4492350"/>
                <a:gd name="connsiteX13-2543" fmla="*/ 1956391 w 3694535"/>
                <a:gd name="connsiteY13-2544" fmla="*/ 0 h 4492350"/>
                <a:gd name="connsiteX14-2545" fmla="*/ 2083982 w 3694535"/>
                <a:gd name="connsiteY14-2546" fmla="*/ 978195 h 4492350"/>
                <a:gd name="connsiteX15-2547" fmla="*/ 1881963 w 3694535"/>
                <a:gd name="connsiteY15-2548" fmla="*/ 2232837 h 4492350"/>
                <a:gd name="connsiteX16-2549" fmla="*/ 2057494 w 3694535"/>
                <a:gd name="connsiteY16-2550" fmla="*/ 3046321 h 4492350"/>
                <a:gd name="connsiteX17-2551" fmla="*/ 2647507 w 3694535"/>
                <a:gd name="connsiteY17-2552" fmla="*/ 2519916 h 4492350"/>
                <a:gd name="connsiteX18-2553" fmla="*/ 2913694 w 3694535"/>
                <a:gd name="connsiteY18-2554" fmla="*/ 1291762 h 4492350"/>
                <a:gd name="connsiteX19-2555" fmla="*/ 2806809 w 3694535"/>
                <a:gd name="connsiteY19-2556" fmla="*/ 2383091 h 4492350"/>
                <a:gd name="connsiteX20-2557" fmla="*/ 3694535 w 3694535"/>
                <a:gd name="connsiteY20-2558" fmla="*/ 1124252 h 4492350"/>
                <a:gd name="connsiteX21-2559" fmla="*/ 2222205 w 3694535"/>
                <a:gd name="connsiteY21-2560" fmla="*/ 3370521 h 4492350"/>
                <a:gd name="connsiteX22-2561" fmla="*/ 2169042 w 3694535"/>
                <a:gd name="connsiteY22-2562" fmla="*/ 3817088 h 4492350"/>
                <a:gd name="connsiteX23-2563" fmla="*/ 3317358 w 3694535"/>
                <a:gd name="connsiteY23-2564" fmla="*/ 3094074 h 4492350"/>
                <a:gd name="connsiteX24-2565" fmla="*/ 2194317 w 3694535"/>
                <a:gd name="connsiteY24-2566" fmla="*/ 4030951 h 4492350"/>
                <a:gd name="connsiteX25-2567" fmla="*/ 2232838 w 3694535"/>
                <a:gd name="connsiteY25-2568" fmla="*/ 4476307 h 4492350"/>
                <a:gd name="connsiteX26-2569" fmla="*/ 2218194 w 3694535"/>
                <a:gd name="connsiteY26-2570" fmla="*/ 4491415 h 4492350"/>
                <a:gd name="connsiteX27-2571" fmla="*/ 1743740 w 3694535"/>
                <a:gd name="connsiteY27-2572" fmla="*/ 4492350 h 4492350"/>
                <a:gd name="connsiteX0-2573" fmla="*/ 1743740 w 3694535"/>
                <a:gd name="connsiteY0-2574" fmla="*/ 4492350 h 4492350"/>
                <a:gd name="connsiteX1-2575" fmla="*/ 1796903 w 3694535"/>
                <a:gd name="connsiteY1-2576" fmla="*/ 3785190 h 4492350"/>
                <a:gd name="connsiteX2-2577" fmla="*/ 1307805 w 3694535"/>
                <a:gd name="connsiteY2-2578" fmla="*/ 3381153 h 4492350"/>
                <a:gd name="connsiteX3-2579" fmla="*/ 31898 w 3694535"/>
                <a:gd name="connsiteY3-2580" fmla="*/ 2945218 h 4492350"/>
                <a:gd name="connsiteX4-2581" fmla="*/ 1127052 w 3694535"/>
                <a:gd name="connsiteY4-2582" fmla="*/ 3242930 h 4492350"/>
                <a:gd name="connsiteX5-2583" fmla="*/ 393405 w 3694535"/>
                <a:gd name="connsiteY5-2584" fmla="*/ 2456121 h 4492350"/>
                <a:gd name="connsiteX6-2585" fmla="*/ 1775638 w 3694535"/>
                <a:gd name="connsiteY6-2586" fmla="*/ 3519376 h 4492350"/>
                <a:gd name="connsiteX7-2587" fmla="*/ 1679945 w 3694535"/>
                <a:gd name="connsiteY7-2588" fmla="*/ 2392325 h 4492350"/>
                <a:gd name="connsiteX8-2589" fmla="*/ 0 w 3694535"/>
                <a:gd name="connsiteY8-2590" fmla="*/ 754911 h 4492350"/>
                <a:gd name="connsiteX9-2591" fmla="*/ 988828 w 3694535"/>
                <a:gd name="connsiteY9-2592" fmla="*/ 1924493 h 4492350"/>
                <a:gd name="connsiteX10-2593" fmla="*/ 1137684 w 3694535"/>
                <a:gd name="connsiteY10-2594" fmla="*/ 861237 h 4492350"/>
                <a:gd name="connsiteX11-2595" fmla="*/ 1222745 w 3694535"/>
                <a:gd name="connsiteY11-2596" fmla="*/ 2062716 h 4492350"/>
                <a:gd name="connsiteX12-2597" fmla="*/ 1690577 w 3694535"/>
                <a:gd name="connsiteY12-2598" fmla="*/ 2190307 h 4492350"/>
                <a:gd name="connsiteX13-2599" fmla="*/ 1956391 w 3694535"/>
                <a:gd name="connsiteY13-2600" fmla="*/ 0 h 4492350"/>
                <a:gd name="connsiteX14-2601" fmla="*/ 2083982 w 3694535"/>
                <a:gd name="connsiteY14-2602" fmla="*/ 978195 h 4492350"/>
                <a:gd name="connsiteX15-2603" fmla="*/ 1881963 w 3694535"/>
                <a:gd name="connsiteY15-2604" fmla="*/ 2232837 h 4492350"/>
                <a:gd name="connsiteX16-2605" fmla="*/ 2057494 w 3694535"/>
                <a:gd name="connsiteY16-2606" fmla="*/ 3046321 h 4492350"/>
                <a:gd name="connsiteX17-2607" fmla="*/ 2647507 w 3694535"/>
                <a:gd name="connsiteY17-2608" fmla="*/ 2519916 h 4492350"/>
                <a:gd name="connsiteX18-2609" fmla="*/ 2913694 w 3694535"/>
                <a:gd name="connsiteY18-2610" fmla="*/ 1291762 h 4492350"/>
                <a:gd name="connsiteX19-2611" fmla="*/ 2806809 w 3694535"/>
                <a:gd name="connsiteY19-2612" fmla="*/ 2383091 h 4492350"/>
                <a:gd name="connsiteX20-2613" fmla="*/ 3694535 w 3694535"/>
                <a:gd name="connsiteY20-2614" fmla="*/ 1124252 h 4492350"/>
                <a:gd name="connsiteX21-2615" fmla="*/ 2222205 w 3694535"/>
                <a:gd name="connsiteY21-2616" fmla="*/ 3370521 h 4492350"/>
                <a:gd name="connsiteX22-2617" fmla="*/ 2169042 w 3694535"/>
                <a:gd name="connsiteY22-2618" fmla="*/ 3817088 h 4492350"/>
                <a:gd name="connsiteX23-2619" fmla="*/ 3317358 w 3694535"/>
                <a:gd name="connsiteY23-2620" fmla="*/ 3094074 h 4492350"/>
                <a:gd name="connsiteX24-2621" fmla="*/ 2194317 w 3694535"/>
                <a:gd name="connsiteY24-2622" fmla="*/ 4030951 h 4492350"/>
                <a:gd name="connsiteX25-2623" fmla="*/ 2232838 w 3694535"/>
                <a:gd name="connsiteY25-2624" fmla="*/ 4476307 h 4492350"/>
                <a:gd name="connsiteX26-2625" fmla="*/ 2218194 w 3694535"/>
                <a:gd name="connsiteY26-2626" fmla="*/ 4491415 h 4492350"/>
                <a:gd name="connsiteX27-2627" fmla="*/ 1743740 w 3694535"/>
                <a:gd name="connsiteY27-2628" fmla="*/ 4492350 h 4492350"/>
                <a:gd name="connsiteX0-2629" fmla="*/ 1743740 w 3694535"/>
                <a:gd name="connsiteY0-2630" fmla="*/ 4492350 h 4492350"/>
                <a:gd name="connsiteX1-2631" fmla="*/ 1796903 w 3694535"/>
                <a:gd name="connsiteY1-2632" fmla="*/ 3785190 h 4492350"/>
                <a:gd name="connsiteX2-2633" fmla="*/ 1307805 w 3694535"/>
                <a:gd name="connsiteY2-2634" fmla="*/ 3381153 h 4492350"/>
                <a:gd name="connsiteX3-2635" fmla="*/ 31898 w 3694535"/>
                <a:gd name="connsiteY3-2636" fmla="*/ 2945218 h 4492350"/>
                <a:gd name="connsiteX4-2637" fmla="*/ 1127052 w 3694535"/>
                <a:gd name="connsiteY4-2638" fmla="*/ 3242930 h 4492350"/>
                <a:gd name="connsiteX5-2639" fmla="*/ 393405 w 3694535"/>
                <a:gd name="connsiteY5-2640" fmla="*/ 2456121 h 4492350"/>
                <a:gd name="connsiteX6-2641" fmla="*/ 1775638 w 3694535"/>
                <a:gd name="connsiteY6-2642" fmla="*/ 3519376 h 4492350"/>
                <a:gd name="connsiteX7-2643" fmla="*/ 1679945 w 3694535"/>
                <a:gd name="connsiteY7-2644" fmla="*/ 2392325 h 4492350"/>
                <a:gd name="connsiteX8-2645" fmla="*/ 0 w 3694535"/>
                <a:gd name="connsiteY8-2646" fmla="*/ 754911 h 4492350"/>
                <a:gd name="connsiteX9-2647" fmla="*/ 988828 w 3694535"/>
                <a:gd name="connsiteY9-2648" fmla="*/ 1924493 h 4492350"/>
                <a:gd name="connsiteX10-2649" fmla="*/ 1137684 w 3694535"/>
                <a:gd name="connsiteY10-2650" fmla="*/ 861237 h 4492350"/>
                <a:gd name="connsiteX11-2651" fmla="*/ 1222745 w 3694535"/>
                <a:gd name="connsiteY11-2652" fmla="*/ 2062716 h 4492350"/>
                <a:gd name="connsiteX12-2653" fmla="*/ 1690577 w 3694535"/>
                <a:gd name="connsiteY12-2654" fmla="*/ 2190307 h 4492350"/>
                <a:gd name="connsiteX13-2655" fmla="*/ 1956391 w 3694535"/>
                <a:gd name="connsiteY13-2656" fmla="*/ 0 h 4492350"/>
                <a:gd name="connsiteX14-2657" fmla="*/ 2083982 w 3694535"/>
                <a:gd name="connsiteY14-2658" fmla="*/ 978195 h 4492350"/>
                <a:gd name="connsiteX15-2659" fmla="*/ 1881963 w 3694535"/>
                <a:gd name="connsiteY15-2660" fmla="*/ 2232837 h 4492350"/>
                <a:gd name="connsiteX16-2661" fmla="*/ 2057494 w 3694535"/>
                <a:gd name="connsiteY16-2662" fmla="*/ 3046321 h 4492350"/>
                <a:gd name="connsiteX17-2663" fmla="*/ 2647507 w 3694535"/>
                <a:gd name="connsiteY17-2664" fmla="*/ 2519916 h 4492350"/>
                <a:gd name="connsiteX18-2665" fmla="*/ 2913694 w 3694535"/>
                <a:gd name="connsiteY18-2666" fmla="*/ 1291762 h 4492350"/>
                <a:gd name="connsiteX19-2667" fmla="*/ 2806809 w 3694535"/>
                <a:gd name="connsiteY19-2668" fmla="*/ 2383091 h 4492350"/>
                <a:gd name="connsiteX20-2669" fmla="*/ 3694535 w 3694535"/>
                <a:gd name="connsiteY20-2670" fmla="*/ 1124252 h 4492350"/>
                <a:gd name="connsiteX21-2671" fmla="*/ 2222205 w 3694535"/>
                <a:gd name="connsiteY21-2672" fmla="*/ 3370521 h 4492350"/>
                <a:gd name="connsiteX22-2673" fmla="*/ 2169042 w 3694535"/>
                <a:gd name="connsiteY22-2674" fmla="*/ 3817088 h 4492350"/>
                <a:gd name="connsiteX23-2675" fmla="*/ 3317358 w 3694535"/>
                <a:gd name="connsiteY23-2676" fmla="*/ 3094074 h 4492350"/>
                <a:gd name="connsiteX24-2677" fmla="*/ 2194317 w 3694535"/>
                <a:gd name="connsiteY24-2678" fmla="*/ 4030951 h 4492350"/>
                <a:gd name="connsiteX25-2679" fmla="*/ 2232838 w 3694535"/>
                <a:gd name="connsiteY25-2680" fmla="*/ 4476307 h 4492350"/>
                <a:gd name="connsiteX26-2681" fmla="*/ 2218194 w 3694535"/>
                <a:gd name="connsiteY26-2682" fmla="*/ 4491415 h 4492350"/>
                <a:gd name="connsiteX27-2683" fmla="*/ 1743740 w 3694535"/>
                <a:gd name="connsiteY27-2684" fmla="*/ 4492350 h 4492350"/>
                <a:gd name="connsiteX0-2685" fmla="*/ 1743740 w 3694535"/>
                <a:gd name="connsiteY0-2686" fmla="*/ 4492350 h 4492350"/>
                <a:gd name="connsiteX1-2687" fmla="*/ 1796903 w 3694535"/>
                <a:gd name="connsiteY1-2688" fmla="*/ 3785190 h 4492350"/>
                <a:gd name="connsiteX2-2689" fmla="*/ 1307805 w 3694535"/>
                <a:gd name="connsiteY2-2690" fmla="*/ 3381153 h 4492350"/>
                <a:gd name="connsiteX3-2691" fmla="*/ 31898 w 3694535"/>
                <a:gd name="connsiteY3-2692" fmla="*/ 2945218 h 4492350"/>
                <a:gd name="connsiteX4-2693" fmla="*/ 1127052 w 3694535"/>
                <a:gd name="connsiteY4-2694" fmla="*/ 3242930 h 4492350"/>
                <a:gd name="connsiteX5-2695" fmla="*/ 393405 w 3694535"/>
                <a:gd name="connsiteY5-2696" fmla="*/ 2456121 h 4492350"/>
                <a:gd name="connsiteX6-2697" fmla="*/ 1775638 w 3694535"/>
                <a:gd name="connsiteY6-2698" fmla="*/ 3519376 h 4492350"/>
                <a:gd name="connsiteX7-2699" fmla="*/ 1679945 w 3694535"/>
                <a:gd name="connsiteY7-2700" fmla="*/ 2392325 h 4492350"/>
                <a:gd name="connsiteX8-2701" fmla="*/ 0 w 3694535"/>
                <a:gd name="connsiteY8-2702" fmla="*/ 754911 h 4492350"/>
                <a:gd name="connsiteX9-2703" fmla="*/ 988828 w 3694535"/>
                <a:gd name="connsiteY9-2704" fmla="*/ 1924493 h 4492350"/>
                <a:gd name="connsiteX10-2705" fmla="*/ 1137684 w 3694535"/>
                <a:gd name="connsiteY10-2706" fmla="*/ 861237 h 4492350"/>
                <a:gd name="connsiteX11-2707" fmla="*/ 1222745 w 3694535"/>
                <a:gd name="connsiteY11-2708" fmla="*/ 2062716 h 4492350"/>
                <a:gd name="connsiteX12-2709" fmla="*/ 1690577 w 3694535"/>
                <a:gd name="connsiteY12-2710" fmla="*/ 2190307 h 4492350"/>
                <a:gd name="connsiteX13-2711" fmla="*/ 1956391 w 3694535"/>
                <a:gd name="connsiteY13-2712" fmla="*/ 0 h 4492350"/>
                <a:gd name="connsiteX14-2713" fmla="*/ 2083982 w 3694535"/>
                <a:gd name="connsiteY14-2714" fmla="*/ 978195 h 4492350"/>
                <a:gd name="connsiteX15-2715" fmla="*/ 1881963 w 3694535"/>
                <a:gd name="connsiteY15-2716" fmla="*/ 2232837 h 4492350"/>
                <a:gd name="connsiteX16-2717" fmla="*/ 2057494 w 3694535"/>
                <a:gd name="connsiteY16-2718" fmla="*/ 3046321 h 4492350"/>
                <a:gd name="connsiteX17-2719" fmla="*/ 2647507 w 3694535"/>
                <a:gd name="connsiteY17-2720" fmla="*/ 2519916 h 4492350"/>
                <a:gd name="connsiteX18-2721" fmla="*/ 2913694 w 3694535"/>
                <a:gd name="connsiteY18-2722" fmla="*/ 1291762 h 4492350"/>
                <a:gd name="connsiteX19-2723" fmla="*/ 2806809 w 3694535"/>
                <a:gd name="connsiteY19-2724" fmla="*/ 2383091 h 4492350"/>
                <a:gd name="connsiteX20-2725" fmla="*/ 3694535 w 3694535"/>
                <a:gd name="connsiteY20-2726" fmla="*/ 1124252 h 4492350"/>
                <a:gd name="connsiteX21-2727" fmla="*/ 2222205 w 3694535"/>
                <a:gd name="connsiteY21-2728" fmla="*/ 3370521 h 4492350"/>
                <a:gd name="connsiteX22-2729" fmla="*/ 2169042 w 3694535"/>
                <a:gd name="connsiteY22-2730" fmla="*/ 3817088 h 4492350"/>
                <a:gd name="connsiteX23-2731" fmla="*/ 3317358 w 3694535"/>
                <a:gd name="connsiteY23-2732" fmla="*/ 3094074 h 4492350"/>
                <a:gd name="connsiteX24-2733" fmla="*/ 2194317 w 3694535"/>
                <a:gd name="connsiteY24-2734" fmla="*/ 4030951 h 4492350"/>
                <a:gd name="connsiteX25-2735" fmla="*/ 2232838 w 3694535"/>
                <a:gd name="connsiteY25-2736" fmla="*/ 4476307 h 4492350"/>
                <a:gd name="connsiteX26-2737" fmla="*/ 2218194 w 3694535"/>
                <a:gd name="connsiteY26-2738" fmla="*/ 4491415 h 4492350"/>
                <a:gd name="connsiteX27-2739" fmla="*/ 1743740 w 3694535"/>
                <a:gd name="connsiteY27-2740" fmla="*/ 4492350 h 4492350"/>
                <a:gd name="connsiteX0-2741" fmla="*/ 1743740 w 3694535"/>
                <a:gd name="connsiteY0-2742" fmla="*/ 4492350 h 4492350"/>
                <a:gd name="connsiteX1-2743" fmla="*/ 1796903 w 3694535"/>
                <a:gd name="connsiteY1-2744" fmla="*/ 3785190 h 4492350"/>
                <a:gd name="connsiteX2-2745" fmla="*/ 1307805 w 3694535"/>
                <a:gd name="connsiteY2-2746" fmla="*/ 3381153 h 4492350"/>
                <a:gd name="connsiteX3-2747" fmla="*/ 31898 w 3694535"/>
                <a:gd name="connsiteY3-2748" fmla="*/ 2945218 h 4492350"/>
                <a:gd name="connsiteX4-2749" fmla="*/ 1127052 w 3694535"/>
                <a:gd name="connsiteY4-2750" fmla="*/ 3242930 h 4492350"/>
                <a:gd name="connsiteX5-2751" fmla="*/ 393405 w 3694535"/>
                <a:gd name="connsiteY5-2752" fmla="*/ 2456121 h 4492350"/>
                <a:gd name="connsiteX6-2753" fmla="*/ 1775638 w 3694535"/>
                <a:gd name="connsiteY6-2754" fmla="*/ 3519376 h 4492350"/>
                <a:gd name="connsiteX7-2755" fmla="*/ 1679945 w 3694535"/>
                <a:gd name="connsiteY7-2756" fmla="*/ 2392325 h 4492350"/>
                <a:gd name="connsiteX8-2757" fmla="*/ 0 w 3694535"/>
                <a:gd name="connsiteY8-2758" fmla="*/ 754911 h 4492350"/>
                <a:gd name="connsiteX9-2759" fmla="*/ 988828 w 3694535"/>
                <a:gd name="connsiteY9-2760" fmla="*/ 1924493 h 4492350"/>
                <a:gd name="connsiteX10-2761" fmla="*/ 1137684 w 3694535"/>
                <a:gd name="connsiteY10-2762" fmla="*/ 861237 h 4492350"/>
                <a:gd name="connsiteX11-2763" fmla="*/ 1222745 w 3694535"/>
                <a:gd name="connsiteY11-2764" fmla="*/ 2062716 h 4492350"/>
                <a:gd name="connsiteX12-2765" fmla="*/ 1690577 w 3694535"/>
                <a:gd name="connsiteY12-2766" fmla="*/ 2190307 h 4492350"/>
                <a:gd name="connsiteX13-2767" fmla="*/ 1956391 w 3694535"/>
                <a:gd name="connsiteY13-2768" fmla="*/ 0 h 4492350"/>
                <a:gd name="connsiteX14-2769" fmla="*/ 2027834 w 3694535"/>
                <a:gd name="connsiteY14-2770" fmla="*/ 986216 h 4492350"/>
                <a:gd name="connsiteX15-2771" fmla="*/ 1881963 w 3694535"/>
                <a:gd name="connsiteY15-2772" fmla="*/ 2232837 h 4492350"/>
                <a:gd name="connsiteX16-2773" fmla="*/ 2057494 w 3694535"/>
                <a:gd name="connsiteY16-2774" fmla="*/ 3046321 h 4492350"/>
                <a:gd name="connsiteX17-2775" fmla="*/ 2647507 w 3694535"/>
                <a:gd name="connsiteY17-2776" fmla="*/ 2519916 h 4492350"/>
                <a:gd name="connsiteX18-2777" fmla="*/ 2913694 w 3694535"/>
                <a:gd name="connsiteY18-2778" fmla="*/ 1291762 h 4492350"/>
                <a:gd name="connsiteX19-2779" fmla="*/ 2806809 w 3694535"/>
                <a:gd name="connsiteY19-2780" fmla="*/ 2383091 h 4492350"/>
                <a:gd name="connsiteX20-2781" fmla="*/ 3694535 w 3694535"/>
                <a:gd name="connsiteY20-2782" fmla="*/ 1124252 h 4492350"/>
                <a:gd name="connsiteX21-2783" fmla="*/ 2222205 w 3694535"/>
                <a:gd name="connsiteY21-2784" fmla="*/ 3370521 h 4492350"/>
                <a:gd name="connsiteX22-2785" fmla="*/ 2169042 w 3694535"/>
                <a:gd name="connsiteY22-2786" fmla="*/ 3817088 h 4492350"/>
                <a:gd name="connsiteX23-2787" fmla="*/ 3317358 w 3694535"/>
                <a:gd name="connsiteY23-2788" fmla="*/ 3094074 h 4492350"/>
                <a:gd name="connsiteX24-2789" fmla="*/ 2194317 w 3694535"/>
                <a:gd name="connsiteY24-2790" fmla="*/ 4030951 h 4492350"/>
                <a:gd name="connsiteX25-2791" fmla="*/ 2232838 w 3694535"/>
                <a:gd name="connsiteY25-2792" fmla="*/ 4476307 h 4492350"/>
                <a:gd name="connsiteX26-2793" fmla="*/ 2218194 w 3694535"/>
                <a:gd name="connsiteY26-2794" fmla="*/ 4491415 h 4492350"/>
                <a:gd name="connsiteX27-2795" fmla="*/ 1743740 w 3694535"/>
                <a:gd name="connsiteY27-2796" fmla="*/ 4492350 h 4492350"/>
                <a:gd name="connsiteX0-2797" fmla="*/ 1743740 w 3694535"/>
                <a:gd name="connsiteY0-2798" fmla="*/ 4492350 h 4492350"/>
                <a:gd name="connsiteX1-2799" fmla="*/ 1796903 w 3694535"/>
                <a:gd name="connsiteY1-2800" fmla="*/ 3785190 h 4492350"/>
                <a:gd name="connsiteX2-2801" fmla="*/ 1307805 w 3694535"/>
                <a:gd name="connsiteY2-2802" fmla="*/ 3381153 h 4492350"/>
                <a:gd name="connsiteX3-2803" fmla="*/ 31898 w 3694535"/>
                <a:gd name="connsiteY3-2804" fmla="*/ 2945218 h 4492350"/>
                <a:gd name="connsiteX4-2805" fmla="*/ 1127052 w 3694535"/>
                <a:gd name="connsiteY4-2806" fmla="*/ 3242930 h 4492350"/>
                <a:gd name="connsiteX5-2807" fmla="*/ 393405 w 3694535"/>
                <a:gd name="connsiteY5-2808" fmla="*/ 2456121 h 4492350"/>
                <a:gd name="connsiteX6-2809" fmla="*/ 1775638 w 3694535"/>
                <a:gd name="connsiteY6-2810" fmla="*/ 3519376 h 4492350"/>
                <a:gd name="connsiteX7-2811" fmla="*/ 1679945 w 3694535"/>
                <a:gd name="connsiteY7-2812" fmla="*/ 2392325 h 4492350"/>
                <a:gd name="connsiteX8-2813" fmla="*/ 0 w 3694535"/>
                <a:gd name="connsiteY8-2814" fmla="*/ 754911 h 4492350"/>
                <a:gd name="connsiteX9-2815" fmla="*/ 988828 w 3694535"/>
                <a:gd name="connsiteY9-2816" fmla="*/ 1924493 h 4492350"/>
                <a:gd name="connsiteX10-2817" fmla="*/ 1137684 w 3694535"/>
                <a:gd name="connsiteY10-2818" fmla="*/ 861237 h 4492350"/>
                <a:gd name="connsiteX11-2819" fmla="*/ 1222745 w 3694535"/>
                <a:gd name="connsiteY11-2820" fmla="*/ 2062716 h 4492350"/>
                <a:gd name="connsiteX12-2821" fmla="*/ 1690577 w 3694535"/>
                <a:gd name="connsiteY12-2822" fmla="*/ 2190307 h 4492350"/>
                <a:gd name="connsiteX13-2823" fmla="*/ 1956391 w 3694535"/>
                <a:gd name="connsiteY13-2824" fmla="*/ 0 h 4492350"/>
                <a:gd name="connsiteX14-2825" fmla="*/ 2027834 w 3694535"/>
                <a:gd name="connsiteY14-2826" fmla="*/ 986216 h 4492350"/>
                <a:gd name="connsiteX15-2827" fmla="*/ 1881963 w 3694535"/>
                <a:gd name="connsiteY15-2828" fmla="*/ 2232837 h 4492350"/>
                <a:gd name="connsiteX16-2829" fmla="*/ 2057494 w 3694535"/>
                <a:gd name="connsiteY16-2830" fmla="*/ 3046321 h 4492350"/>
                <a:gd name="connsiteX17-2831" fmla="*/ 2647507 w 3694535"/>
                <a:gd name="connsiteY17-2832" fmla="*/ 2519916 h 4492350"/>
                <a:gd name="connsiteX18-2833" fmla="*/ 2913694 w 3694535"/>
                <a:gd name="connsiteY18-2834" fmla="*/ 1291762 h 4492350"/>
                <a:gd name="connsiteX19-2835" fmla="*/ 2806809 w 3694535"/>
                <a:gd name="connsiteY19-2836" fmla="*/ 2383091 h 4492350"/>
                <a:gd name="connsiteX20-2837" fmla="*/ 3694535 w 3694535"/>
                <a:gd name="connsiteY20-2838" fmla="*/ 1124252 h 4492350"/>
                <a:gd name="connsiteX21-2839" fmla="*/ 2222205 w 3694535"/>
                <a:gd name="connsiteY21-2840" fmla="*/ 3370521 h 4492350"/>
                <a:gd name="connsiteX22-2841" fmla="*/ 2169042 w 3694535"/>
                <a:gd name="connsiteY22-2842" fmla="*/ 3817088 h 4492350"/>
                <a:gd name="connsiteX23-2843" fmla="*/ 3317358 w 3694535"/>
                <a:gd name="connsiteY23-2844" fmla="*/ 3094074 h 4492350"/>
                <a:gd name="connsiteX24-2845" fmla="*/ 2194317 w 3694535"/>
                <a:gd name="connsiteY24-2846" fmla="*/ 4030951 h 4492350"/>
                <a:gd name="connsiteX25-2847" fmla="*/ 2232838 w 3694535"/>
                <a:gd name="connsiteY25-2848" fmla="*/ 4476307 h 4492350"/>
                <a:gd name="connsiteX26-2849" fmla="*/ 2218194 w 3694535"/>
                <a:gd name="connsiteY26-2850" fmla="*/ 4491415 h 4492350"/>
                <a:gd name="connsiteX27-2851" fmla="*/ 1743740 w 3694535"/>
                <a:gd name="connsiteY27-2852" fmla="*/ 4492350 h 4492350"/>
                <a:gd name="connsiteX0-2853" fmla="*/ 1743740 w 3694535"/>
                <a:gd name="connsiteY0-2854" fmla="*/ 4492350 h 4492350"/>
                <a:gd name="connsiteX1-2855" fmla="*/ 1796903 w 3694535"/>
                <a:gd name="connsiteY1-2856" fmla="*/ 3785190 h 4492350"/>
                <a:gd name="connsiteX2-2857" fmla="*/ 1307805 w 3694535"/>
                <a:gd name="connsiteY2-2858" fmla="*/ 3381153 h 4492350"/>
                <a:gd name="connsiteX3-2859" fmla="*/ 31898 w 3694535"/>
                <a:gd name="connsiteY3-2860" fmla="*/ 2945218 h 4492350"/>
                <a:gd name="connsiteX4-2861" fmla="*/ 1127052 w 3694535"/>
                <a:gd name="connsiteY4-2862" fmla="*/ 3242930 h 4492350"/>
                <a:gd name="connsiteX5-2863" fmla="*/ 393405 w 3694535"/>
                <a:gd name="connsiteY5-2864" fmla="*/ 2456121 h 4492350"/>
                <a:gd name="connsiteX6-2865" fmla="*/ 1775638 w 3694535"/>
                <a:gd name="connsiteY6-2866" fmla="*/ 3519376 h 4492350"/>
                <a:gd name="connsiteX7-2867" fmla="*/ 1679945 w 3694535"/>
                <a:gd name="connsiteY7-2868" fmla="*/ 2392325 h 4492350"/>
                <a:gd name="connsiteX8-2869" fmla="*/ 0 w 3694535"/>
                <a:gd name="connsiteY8-2870" fmla="*/ 754911 h 4492350"/>
                <a:gd name="connsiteX9-2871" fmla="*/ 988828 w 3694535"/>
                <a:gd name="connsiteY9-2872" fmla="*/ 1924493 h 4492350"/>
                <a:gd name="connsiteX10-2873" fmla="*/ 1137684 w 3694535"/>
                <a:gd name="connsiteY10-2874" fmla="*/ 861237 h 4492350"/>
                <a:gd name="connsiteX11-2875" fmla="*/ 1222745 w 3694535"/>
                <a:gd name="connsiteY11-2876" fmla="*/ 2062716 h 4492350"/>
                <a:gd name="connsiteX12-2877" fmla="*/ 1690577 w 3694535"/>
                <a:gd name="connsiteY12-2878" fmla="*/ 2190307 h 4492350"/>
                <a:gd name="connsiteX13-2879" fmla="*/ 1956391 w 3694535"/>
                <a:gd name="connsiteY13-2880" fmla="*/ 0 h 4492350"/>
                <a:gd name="connsiteX14-2881" fmla="*/ 2027834 w 3694535"/>
                <a:gd name="connsiteY14-2882" fmla="*/ 986216 h 4492350"/>
                <a:gd name="connsiteX15-2883" fmla="*/ 1881963 w 3694535"/>
                <a:gd name="connsiteY15-2884" fmla="*/ 2232837 h 4492350"/>
                <a:gd name="connsiteX16-2885" fmla="*/ 2057494 w 3694535"/>
                <a:gd name="connsiteY16-2886" fmla="*/ 3046321 h 4492350"/>
                <a:gd name="connsiteX17-2887" fmla="*/ 2647507 w 3694535"/>
                <a:gd name="connsiteY17-2888" fmla="*/ 2519916 h 4492350"/>
                <a:gd name="connsiteX18-2889" fmla="*/ 2913694 w 3694535"/>
                <a:gd name="connsiteY18-2890" fmla="*/ 1291762 h 4492350"/>
                <a:gd name="connsiteX19-2891" fmla="*/ 2806809 w 3694535"/>
                <a:gd name="connsiteY19-2892" fmla="*/ 2383091 h 4492350"/>
                <a:gd name="connsiteX20-2893" fmla="*/ 3694535 w 3694535"/>
                <a:gd name="connsiteY20-2894" fmla="*/ 1124252 h 4492350"/>
                <a:gd name="connsiteX21-2895" fmla="*/ 2222205 w 3694535"/>
                <a:gd name="connsiteY21-2896" fmla="*/ 3370521 h 4492350"/>
                <a:gd name="connsiteX22-2897" fmla="*/ 2169042 w 3694535"/>
                <a:gd name="connsiteY22-2898" fmla="*/ 3817088 h 4492350"/>
                <a:gd name="connsiteX23-2899" fmla="*/ 3317358 w 3694535"/>
                <a:gd name="connsiteY23-2900" fmla="*/ 3094074 h 4492350"/>
                <a:gd name="connsiteX24-2901" fmla="*/ 2194317 w 3694535"/>
                <a:gd name="connsiteY24-2902" fmla="*/ 4030951 h 4492350"/>
                <a:gd name="connsiteX25-2903" fmla="*/ 2232838 w 3694535"/>
                <a:gd name="connsiteY25-2904" fmla="*/ 4476307 h 4492350"/>
                <a:gd name="connsiteX26-2905" fmla="*/ 2218194 w 3694535"/>
                <a:gd name="connsiteY26-2906" fmla="*/ 4491415 h 4492350"/>
                <a:gd name="connsiteX27-2907" fmla="*/ 1743740 w 3694535"/>
                <a:gd name="connsiteY27-2908" fmla="*/ 4492350 h 4492350"/>
                <a:gd name="connsiteX0-2909" fmla="*/ 1743740 w 3694535"/>
                <a:gd name="connsiteY0-2910" fmla="*/ 4523651 h 4523651"/>
                <a:gd name="connsiteX1-2911" fmla="*/ 1796903 w 3694535"/>
                <a:gd name="connsiteY1-2912" fmla="*/ 3816491 h 4523651"/>
                <a:gd name="connsiteX2-2913" fmla="*/ 1307805 w 3694535"/>
                <a:gd name="connsiteY2-2914" fmla="*/ 3412454 h 4523651"/>
                <a:gd name="connsiteX3-2915" fmla="*/ 31898 w 3694535"/>
                <a:gd name="connsiteY3-2916" fmla="*/ 2976519 h 4523651"/>
                <a:gd name="connsiteX4-2917" fmla="*/ 1127052 w 3694535"/>
                <a:gd name="connsiteY4-2918" fmla="*/ 3274231 h 4523651"/>
                <a:gd name="connsiteX5-2919" fmla="*/ 393405 w 3694535"/>
                <a:gd name="connsiteY5-2920" fmla="*/ 2487422 h 4523651"/>
                <a:gd name="connsiteX6-2921" fmla="*/ 1775638 w 3694535"/>
                <a:gd name="connsiteY6-2922" fmla="*/ 3550677 h 4523651"/>
                <a:gd name="connsiteX7-2923" fmla="*/ 1679945 w 3694535"/>
                <a:gd name="connsiteY7-2924" fmla="*/ 2423626 h 4523651"/>
                <a:gd name="connsiteX8-2925" fmla="*/ 0 w 3694535"/>
                <a:gd name="connsiteY8-2926" fmla="*/ 786212 h 4523651"/>
                <a:gd name="connsiteX9-2927" fmla="*/ 988828 w 3694535"/>
                <a:gd name="connsiteY9-2928" fmla="*/ 1955794 h 4523651"/>
                <a:gd name="connsiteX10-2929" fmla="*/ 1137684 w 3694535"/>
                <a:gd name="connsiteY10-2930" fmla="*/ 892538 h 4523651"/>
                <a:gd name="connsiteX11-2931" fmla="*/ 1222745 w 3694535"/>
                <a:gd name="connsiteY11-2932" fmla="*/ 2094017 h 4523651"/>
                <a:gd name="connsiteX12-2933" fmla="*/ 1690577 w 3694535"/>
                <a:gd name="connsiteY12-2934" fmla="*/ 2221608 h 4523651"/>
                <a:gd name="connsiteX13-2935" fmla="*/ 1956391 w 3694535"/>
                <a:gd name="connsiteY13-2936" fmla="*/ 31301 h 4523651"/>
                <a:gd name="connsiteX14-2937" fmla="*/ 2027834 w 3694535"/>
                <a:gd name="connsiteY14-2938" fmla="*/ 1017517 h 4523651"/>
                <a:gd name="connsiteX15-2939" fmla="*/ 1881963 w 3694535"/>
                <a:gd name="connsiteY15-2940" fmla="*/ 2264138 h 4523651"/>
                <a:gd name="connsiteX16-2941" fmla="*/ 2057494 w 3694535"/>
                <a:gd name="connsiteY16-2942" fmla="*/ 3077622 h 4523651"/>
                <a:gd name="connsiteX17-2943" fmla="*/ 2647507 w 3694535"/>
                <a:gd name="connsiteY17-2944" fmla="*/ 2551217 h 4523651"/>
                <a:gd name="connsiteX18-2945" fmla="*/ 2913694 w 3694535"/>
                <a:gd name="connsiteY18-2946" fmla="*/ 1323063 h 4523651"/>
                <a:gd name="connsiteX19-2947" fmla="*/ 2806809 w 3694535"/>
                <a:gd name="connsiteY19-2948" fmla="*/ 2414392 h 4523651"/>
                <a:gd name="connsiteX20-2949" fmla="*/ 3694535 w 3694535"/>
                <a:gd name="connsiteY20-2950" fmla="*/ 1155553 h 4523651"/>
                <a:gd name="connsiteX21-2951" fmla="*/ 2222205 w 3694535"/>
                <a:gd name="connsiteY21-2952" fmla="*/ 3401822 h 4523651"/>
                <a:gd name="connsiteX22-2953" fmla="*/ 2169042 w 3694535"/>
                <a:gd name="connsiteY22-2954" fmla="*/ 3848389 h 4523651"/>
                <a:gd name="connsiteX23-2955" fmla="*/ 3317358 w 3694535"/>
                <a:gd name="connsiteY23-2956" fmla="*/ 3125375 h 4523651"/>
                <a:gd name="connsiteX24-2957" fmla="*/ 2194317 w 3694535"/>
                <a:gd name="connsiteY24-2958" fmla="*/ 4062252 h 4523651"/>
                <a:gd name="connsiteX25-2959" fmla="*/ 2232838 w 3694535"/>
                <a:gd name="connsiteY25-2960" fmla="*/ 4507608 h 4523651"/>
                <a:gd name="connsiteX26-2961" fmla="*/ 2218194 w 3694535"/>
                <a:gd name="connsiteY26-2962" fmla="*/ 4522716 h 4523651"/>
                <a:gd name="connsiteX27-2963" fmla="*/ 1743740 w 3694535"/>
                <a:gd name="connsiteY27-2964" fmla="*/ 4523651 h 4523651"/>
                <a:gd name="connsiteX0-2965" fmla="*/ 1743740 w 3694535"/>
                <a:gd name="connsiteY0-2966" fmla="*/ 4523651 h 4523651"/>
                <a:gd name="connsiteX1-2967" fmla="*/ 1796903 w 3694535"/>
                <a:gd name="connsiteY1-2968" fmla="*/ 3816491 h 4523651"/>
                <a:gd name="connsiteX2-2969" fmla="*/ 1307805 w 3694535"/>
                <a:gd name="connsiteY2-2970" fmla="*/ 3412454 h 4523651"/>
                <a:gd name="connsiteX3-2971" fmla="*/ 31898 w 3694535"/>
                <a:gd name="connsiteY3-2972" fmla="*/ 2976519 h 4523651"/>
                <a:gd name="connsiteX4-2973" fmla="*/ 1127052 w 3694535"/>
                <a:gd name="connsiteY4-2974" fmla="*/ 3274231 h 4523651"/>
                <a:gd name="connsiteX5-2975" fmla="*/ 393405 w 3694535"/>
                <a:gd name="connsiteY5-2976" fmla="*/ 2487422 h 4523651"/>
                <a:gd name="connsiteX6-2977" fmla="*/ 1775638 w 3694535"/>
                <a:gd name="connsiteY6-2978" fmla="*/ 3550677 h 4523651"/>
                <a:gd name="connsiteX7-2979" fmla="*/ 1679945 w 3694535"/>
                <a:gd name="connsiteY7-2980" fmla="*/ 2423626 h 4523651"/>
                <a:gd name="connsiteX8-2981" fmla="*/ 0 w 3694535"/>
                <a:gd name="connsiteY8-2982" fmla="*/ 786212 h 4523651"/>
                <a:gd name="connsiteX9-2983" fmla="*/ 988828 w 3694535"/>
                <a:gd name="connsiteY9-2984" fmla="*/ 1955794 h 4523651"/>
                <a:gd name="connsiteX10-2985" fmla="*/ 1137684 w 3694535"/>
                <a:gd name="connsiteY10-2986" fmla="*/ 892538 h 4523651"/>
                <a:gd name="connsiteX11-2987" fmla="*/ 1222745 w 3694535"/>
                <a:gd name="connsiteY11-2988" fmla="*/ 2094017 h 4523651"/>
                <a:gd name="connsiteX12-2989" fmla="*/ 1690577 w 3694535"/>
                <a:gd name="connsiteY12-2990" fmla="*/ 2221608 h 4523651"/>
                <a:gd name="connsiteX13-2991" fmla="*/ 1956391 w 3694535"/>
                <a:gd name="connsiteY13-2992" fmla="*/ 31301 h 4523651"/>
                <a:gd name="connsiteX14-2993" fmla="*/ 2027834 w 3694535"/>
                <a:gd name="connsiteY14-2994" fmla="*/ 1017517 h 4523651"/>
                <a:gd name="connsiteX15-2995" fmla="*/ 1881963 w 3694535"/>
                <a:gd name="connsiteY15-2996" fmla="*/ 2264138 h 4523651"/>
                <a:gd name="connsiteX16-2997" fmla="*/ 2057494 w 3694535"/>
                <a:gd name="connsiteY16-2998" fmla="*/ 3077622 h 4523651"/>
                <a:gd name="connsiteX17-2999" fmla="*/ 2647507 w 3694535"/>
                <a:gd name="connsiteY17-3000" fmla="*/ 2551217 h 4523651"/>
                <a:gd name="connsiteX18-3001" fmla="*/ 2913694 w 3694535"/>
                <a:gd name="connsiteY18-3002" fmla="*/ 1323063 h 4523651"/>
                <a:gd name="connsiteX19-3003" fmla="*/ 2806809 w 3694535"/>
                <a:gd name="connsiteY19-3004" fmla="*/ 2414392 h 4523651"/>
                <a:gd name="connsiteX20-3005" fmla="*/ 3694535 w 3694535"/>
                <a:gd name="connsiteY20-3006" fmla="*/ 1155553 h 4523651"/>
                <a:gd name="connsiteX21-3007" fmla="*/ 2222205 w 3694535"/>
                <a:gd name="connsiteY21-3008" fmla="*/ 3401822 h 4523651"/>
                <a:gd name="connsiteX22-3009" fmla="*/ 2169042 w 3694535"/>
                <a:gd name="connsiteY22-3010" fmla="*/ 3848389 h 4523651"/>
                <a:gd name="connsiteX23-3011" fmla="*/ 3317358 w 3694535"/>
                <a:gd name="connsiteY23-3012" fmla="*/ 3125375 h 4523651"/>
                <a:gd name="connsiteX24-3013" fmla="*/ 2194317 w 3694535"/>
                <a:gd name="connsiteY24-3014" fmla="*/ 4062252 h 4523651"/>
                <a:gd name="connsiteX25-3015" fmla="*/ 2232838 w 3694535"/>
                <a:gd name="connsiteY25-3016" fmla="*/ 4507608 h 4523651"/>
                <a:gd name="connsiteX26-3017" fmla="*/ 2218194 w 3694535"/>
                <a:gd name="connsiteY26-3018" fmla="*/ 4522716 h 4523651"/>
                <a:gd name="connsiteX27-3019" fmla="*/ 1743740 w 3694535"/>
                <a:gd name="connsiteY27-3020" fmla="*/ 4523651 h 4523651"/>
                <a:gd name="connsiteX0-3021" fmla="*/ 1743740 w 3694535"/>
                <a:gd name="connsiteY0-3022" fmla="*/ 4523651 h 4523651"/>
                <a:gd name="connsiteX1-3023" fmla="*/ 1796903 w 3694535"/>
                <a:gd name="connsiteY1-3024" fmla="*/ 3816491 h 4523651"/>
                <a:gd name="connsiteX2-3025" fmla="*/ 1307805 w 3694535"/>
                <a:gd name="connsiteY2-3026" fmla="*/ 3412454 h 4523651"/>
                <a:gd name="connsiteX3-3027" fmla="*/ 31898 w 3694535"/>
                <a:gd name="connsiteY3-3028" fmla="*/ 2976519 h 4523651"/>
                <a:gd name="connsiteX4-3029" fmla="*/ 1127052 w 3694535"/>
                <a:gd name="connsiteY4-3030" fmla="*/ 3274231 h 4523651"/>
                <a:gd name="connsiteX5-3031" fmla="*/ 393405 w 3694535"/>
                <a:gd name="connsiteY5-3032" fmla="*/ 2487422 h 4523651"/>
                <a:gd name="connsiteX6-3033" fmla="*/ 1775638 w 3694535"/>
                <a:gd name="connsiteY6-3034" fmla="*/ 3550677 h 4523651"/>
                <a:gd name="connsiteX7-3035" fmla="*/ 1679945 w 3694535"/>
                <a:gd name="connsiteY7-3036" fmla="*/ 2423626 h 4523651"/>
                <a:gd name="connsiteX8-3037" fmla="*/ 0 w 3694535"/>
                <a:gd name="connsiteY8-3038" fmla="*/ 786212 h 4523651"/>
                <a:gd name="connsiteX9-3039" fmla="*/ 988828 w 3694535"/>
                <a:gd name="connsiteY9-3040" fmla="*/ 1955794 h 4523651"/>
                <a:gd name="connsiteX10-3041" fmla="*/ 1137684 w 3694535"/>
                <a:gd name="connsiteY10-3042" fmla="*/ 892538 h 4523651"/>
                <a:gd name="connsiteX11-3043" fmla="*/ 1222745 w 3694535"/>
                <a:gd name="connsiteY11-3044" fmla="*/ 2094017 h 4523651"/>
                <a:gd name="connsiteX12-3045" fmla="*/ 1690577 w 3694535"/>
                <a:gd name="connsiteY12-3046" fmla="*/ 2221608 h 4523651"/>
                <a:gd name="connsiteX13-3047" fmla="*/ 1956391 w 3694535"/>
                <a:gd name="connsiteY13-3048" fmla="*/ 31301 h 4523651"/>
                <a:gd name="connsiteX14-3049" fmla="*/ 2027834 w 3694535"/>
                <a:gd name="connsiteY14-3050" fmla="*/ 1017517 h 4523651"/>
                <a:gd name="connsiteX15-3051" fmla="*/ 1881963 w 3694535"/>
                <a:gd name="connsiteY15-3052" fmla="*/ 2264138 h 4523651"/>
                <a:gd name="connsiteX16-3053" fmla="*/ 2057494 w 3694535"/>
                <a:gd name="connsiteY16-3054" fmla="*/ 3077622 h 4523651"/>
                <a:gd name="connsiteX17-3055" fmla="*/ 2647507 w 3694535"/>
                <a:gd name="connsiteY17-3056" fmla="*/ 2551217 h 4523651"/>
                <a:gd name="connsiteX18-3057" fmla="*/ 2913694 w 3694535"/>
                <a:gd name="connsiteY18-3058" fmla="*/ 1323063 h 4523651"/>
                <a:gd name="connsiteX19-3059" fmla="*/ 2806809 w 3694535"/>
                <a:gd name="connsiteY19-3060" fmla="*/ 2414392 h 4523651"/>
                <a:gd name="connsiteX20-3061" fmla="*/ 3694535 w 3694535"/>
                <a:gd name="connsiteY20-3062" fmla="*/ 1155553 h 4523651"/>
                <a:gd name="connsiteX21-3063" fmla="*/ 2222205 w 3694535"/>
                <a:gd name="connsiteY21-3064" fmla="*/ 3401822 h 4523651"/>
                <a:gd name="connsiteX22-3065" fmla="*/ 2169042 w 3694535"/>
                <a:gd name="connsiteY22-3066" fmla="*/ 3848389 h 4523651"/>
                <a:gd name="connsiteX23-3067" fmla="*/ 3317358 w 3694535"/>
                <a:gd name="connsiteY23-3068" fmla="*/ 3125375 h 4523651"/>
                <a:gd name="connsiteX24-3069" fmla="*/ 2194317 w 3694535"/>
                <a:gd name="connsiteY24-3070" fmla="*/ 4062252 h 4523651"/>
                <a:gd name="connsiteX25-3071" fmla="*/ 2232838 w 3694535"/>
                <a:gd name="connsiteY25-3072" fmla="*/ 4507608 h 4523651"/>
                <a:gd name="connsiteX26-3073" fmla="*/ 2218194 w 3694535"/>
                <a:gd name="connsiteY26-3074" fmla="*/ 4522716 h 4523651"/>
                <a:gd name="connsiteX27-3075" fmla="*/ 1743740 w 3694535"/>
                <a:gd name="connsiteY27-3076" fmla="*/ 4523651 h 4523651"/>
                <a:gd name="connsiteX0-3077" fmla="*/ 1743740 w 3694535"/>
                <a:gd name="connsiteY0-3078" fmla="*/ 4523651 h 4523651"/>
                <a:gd name="connsiteX1-3079" fmla="*/ 1796903 w 3694535"/>
                <a:gd name="connsiteY1-3080" fmla="*/ 3816491 h 4523651"/>
                <a:gd name="connsiteX2-3081" fmla="*/ 1307805 w 3694535"/>
                <a:gd name="connsiteY2-3082" fmla="*/ 3412454 h 4523651"/>
                <a:gd name="connsiteX3-3083" fmla="*/ 31898 w 3694535"/>
                <a:gd name="connsiteY3-3084" fmla="*/ 2976519 h 4523651"/>
                <a:gd name="connsiteX4-3085" fmla="*/ 1127052 w 3694535"/>
                <a:gd name="connsiteY4-3086" fmla="*/ 3274231 h 4523651"/>
                <a:gd name="connsiteX5-3087" fmla="*/ 393405 w 3694535"/>
                <a:gd name="connsiteY5-3088" fmla="*/ 2487422 h 4523651"/>
                <a:gd name="connsiteX6-3089" fmla="*/ 1775638 w 3694535"/>
                <a:gd name="connsiteY6-3090" fmla="*/ 3550677 h 4523651"/>
                <a:gd name="connsiteX7-3091" fmla="*/ 1679945 w 3694535"/>
                <a:gd name="connsiteY7-3092" fmla="*/ 2423626 h 4523651"/>
                <a:gd name="connsiteX8-3093" fmla="*/ 0 w 3694535"/>
                <a:gd name="connsiteY8-3094" fmla="*/ 786212 h 4523651"/>
                <a:gd name="connsiteX9-3095" fmla="*/ 988828 w 3694535"/>
                <a:gd name="connsiteY9-3096" fmla="*/ 1955794 h 4523651"/>
                <a:gd name="connsiteX10-3097" fmla="*/ 1137684 w 3694535"/>
                <a:gd name="connsiteY10-3098" fmla="*/ 892538 h 4523651"/>
                <a:gd name="connsiteX11-3099" fmla="*/ 1222745 w 3694535"/>
                <a:gd name="connsiteY11-3100" fmla="*/ 2094017 h 4523651"/>
                <a:gd name="connsiteX12-3101" fmla="*/ 1690577 w 3694535"/>
                <a:gd name="connsiteY12-3102" fmla="*/ 2221608 h 4523651"/>
                <a:gd name="connsiteX13-3103" fmla="*/ 1956391 w 3694535"/>
                <a:gd name="connsiteY13-3104" fmla="*/ 31301 h 4523651"/>
                <a:gd name="connsiteX14-3105" fmla="*/ 2027834 w 3694535"/>
                <a:gd name="connsiteY14-3106" fmla="*/ 1017517 h 4523651"/>
                <a:gd name="connsiteX15-3107" fmla="*/ 1881963 w 3694535"/>
                <a:gd name="connsiteY15-3108" fmla="*/ 2264138 h 4523651"/>
                <a:gd name="connsiteX16-3109" fmla="*/ 2057494 w 3694535"/>
                <a:gd name="connsiteY16-3110" fmla="*/ 3077622 h 4523651"/>
                <a:gd name="connsiteX17-3111" fmla="*/ 2647507 w 3694535"/>
                <a:gd name="connsiteY17-3112" fmla="*/ 2551217 h 4523651"/>
                <a:gd name="connsiteX18-3113" fmla="*/ 2913694 w 3694535"/>
                <a:gd name="connsiteY18-3114" fmla="*/ 1323063 h 4523651"/>
                <a:gd name="connsiteX19-3115" fmla="*/ 2806809 w 3694535"/>
                <a:gd name="connsiteY19-3116" fmla="*/ 2414392 h 4523651"/>
                <a:gd name="connsiteX20-3117" fmla="*/ 3694535 w 3694535"/>
                <a:gd name="connsiteY20-3118" fmla="*/ 1155553 h 4523651"/>
                <a:gd name="connsiteX21-3119" fmla="*/ 2222205 w 3694535"/>
                <a:gd name="connsiteY21-3120" fmla="*/ 3401822 h 4523651"/>
                <a:gd name="connsiteX22-3121" fmla="*/ 2169042 w 3694535"/>
                <a:gd name="connsiteY22-3122" fmla="*/ 3848389 h 4523651"/>
                <a:gd name="connsiteX23-3123" fmla="*/ 3317358 w 3694535"/>
                <a:gd name="connsiteY23-3124" fmla="*/ 3125375 h 4523651"/>
                <a:gd name="connsiteX24-3125" fmla="*/ 2194317 w 3694535"/>
                <a:gd name="connsiteY24-3126" fmla="*/ 4062252 h 4523651"/>
                <a:gd name="connsiteX25-3127" fmla="*/ 2232838 w 3694535"/>
                <a:gd name="connsiteY25-3128" fmla="*/ 4507608 h 4523651"/>
                <a:gd name="connsiteX26-3129" fmla="*/ 2218194 w 3694535"/>
                <a:gd name="connsiteY26-3130" fmla="*/ 4522716 h 4523651"/>
                <a:gd name="connsiteX27-3131" fmla="*/ 1743740 w 3694535"/>
                <a:gd name="connsiteY27-3132" fmla="*/ 4523651 h 4523651"/>
                <a:gd name="connsiteX0-3133" fmla="*/ 1743740 w 3694535"/>
                <a:gd name="connsiteY0-3134" fmla="*/ 4523651 h 4523651"/>
                <a:gd name="connsiteX1-3135" fmla="*/ 1796903 w 3694535"/>
                <a:gd name="connsiteY1-3136" fmla="*/ 3816491 h 4523651"/>
                <a:gd name="connsiteX2-3137" fmla="*/ 1307805 w 3694535"/>
                <a:gd name="connsiteY2-3138" fmla="*/ 3412454 h 4523651"/>
                <a:gd name="connsiteX3-3139" fmla="*/ 31898 w 3694535"/>
                <a:gd name="connsiteY3-3140" fmla="*/ 2976519 h 4523651"/>
                <a:gd name="connsiteX4-3141" fmla="*/ 1127052 w 3694535"/>
                <a:gd name="connsiteY4-3142" fmla="*/ 3274231 h 4523651"/>
                <a:gd name="connsiteX5-3143" fmla="*/ 393405 w 3694535"/>
                <a:gd name="connsiteY5-3144" fmla="*/ 2487422 h 4523651"/>
                <a:gd name="connsiteX6-3145" fmla="*/ 1775638 w 3694535"/>
                <a:gd name="connsiteY6-3146" fmla="*/ 3550677 h 4523651"/>
                <a:gd name="connsiteX7-3147" fmla="*/ 1679945 w 3694535"/>
                <a:gd name="connsiteY7-3148" fmla="*/ 2423626 h 4523651"/>
                <a:gd name="connsiteX8-3149" fmla="*/ 0 w 3694535"/>
                <a:gd name="connsiteY8-3150" fmla="*/ 786212 h 4523651"/>
                <a:gd name="connsiteX9-3151" fmla="*/ 988828 w 3694535"/>
                <a:gd name="connsiteY9-3152" fmla="*/ 1955794 h 4523651"/>
                <a:gd name="connsiteX10-3153" fmla="*/ 1137684 w 3694535"/>
                <a:gd name="connsiteY10-3154" fmla="*/ 892538 h 4523651"/>
                <a:gd name="connsiteX11-3155" fmla="*/ 1222745 w 3694535"/>
                <a:gd name="connsiteY11-3156" fmla="*/ 2094017 h 4523651"/>
                <a:gd name="connsiteX12-3157" fmla="*/ 1690577 w 3694535"/>
                <a:gd name="connsiteY12-3158" fmla="*/ 2221608 h 4523651"/>
                <a:gd name="connsiteX13-3159" fmla="*/ 1956391 w 3694535"/>
                <a:gd name="connsiteY13-3160" fmla="*/ 31301 h 4523651"/>
                <a:gd name="connsiteX14-3161" fmla="*/ 2027834 w 3694535"/>
                <a:gd name="connsiteY14-3162" fmla="*/ 1017517 h 4523651"/>
                <a:gd name="connsiteX15-3163" fmla="*/ 1881963 w 3694535"/>
                <a:gd name="connsiteY15-3164" fmla="*/ 2264138 h 4523651"/>
                <a:gd name="connsiteX16-3165" fmla="*/ 2057494 w 3694535"/>
                <a:gd name="connsiteY16-3166" fmla="*/ 3077622 h 4523651"/>
                <a:gd name="connsiteX17-3167" fmla="*/ 2647507 w 3694535"/>
                <a:gd name="connsiteY17-3168" fmla="*/ 2551217 h 4523651"/>
                <a:gd name="connsiteX18-3169" fmla="*/ 2913694 w 3694535"/>
                <a:gd name="connsiteY18-3170" fmla="*/ 1323063 h 4523651"/>
                <a:gd name="connsiteX19-3171" fmla="*/ 2806809 w 3694535"/>
                <a:gd name="connsiteY19-3172" fmla="*/ 2414392 h 4523651"/>
                <a:gd name="connsiteX20-3173" fmla="*/ 3694535 w 3694535"/>
                <a:gd name="connsiteY20-3174" fmla="*/ 1155553 h 4523651"/>
                <a:gd name="connsiteX21-3175" fmla="*/ 2222205 w 3694535"/>
                <a:gd name="connsiteY21-3176" fmla="*/ 3401822 h 4523651"/>
                <a:gd name="connsiteX22-3177" fmla="*/ 2169042 w 3694535"/>
                <a:gd name="connsiteY22-3178" fmla="*/ 3848389 h 4523651"/>
                <a:gd name="connsiteX23-3179" fmla="*/ 3317358 w 3694535"/>
                <a:gd name="connsiteY23-3180" fmla="*/ 3125375 h 4523651"/>
                <a:gd name="connsiteX24-3181" fmla="*/ 2194317 w 3694535"/>
                <a:gd name="connsiteY24-3182" fmla="*/ 4062252 h 4523651"/>
                <a:gd name="connsiteX25-3183" fmla="*/ 2232838 w 3694535"/>
                <a:gd name="connsiteY25-3184" fmla="*/ 4507608 h 4523651"/>
                <a:gd name="connsiteX26-3185" fmla="*/ 2218194 w 3694535"/>
                <a:gd name="connsiteY26-3186" fmla="*/ 4522716 h 4523651"/>
                <a:gd name="connsiteX27-3187" fmla="*/ 1743740 w 3694535"/>
                <a:gd name="connsiteY27-3188" fmla="*/ 4523651 h 4523651"/>
                <a:gd name="connsiteX0-3189" fmla="*/ 1743740 w 3694535"/>
                <a:gd name="connsiteY0-3190" fmla="*/ 4523651 h 4523651"/>
                <a:gd name="connsiteX1-3191" fmla="*/ 1796903 w 3694535"/>
                <a:gd name="connsiteY1-3192" fmla="*/ 3816491 h 4523651"/>
                <a:gd name="connsiteX2-3193" fmla="*/ 1307805 w 3694535"/>
                <a:gd name="connsiteY2-3194" fmla="*/ 3412454 h 4523651"/>
                <a:gd name="connsiteX3-3195" fmla="*/ 31898 w 3694535"/>
                <a:gd name="connsiteY3-3196" fmla="*/ 2976519 h 4523651"/>
                <a:gd name="connsiteX4-3197" fmla="*/ 1127052 w 3694535"/>
                <a:gd name="connsiteY4-3198" fmla="*/ 3274231 h 4523651"/>
                <a:gd name="connsiteX5-3199" fmla="*/ 393405 w 3694535"/>
                <a:gd name="connsiteY5-3200" fmla="*/ 2487422 h 4523651"/>
                <a:gd name="connsiteX6-3201" fmla="*/ 1775638 w 3694535"/>
                <a:gd name="connsiteY6-3202" fmla="*/ 3550677 h 4523651"/>
                <a:gd name="connsiteX7-3203" fmla="*/ 1679945 w 3694535"/>
                <a:gd name="connsiteY7-3204" fmla="*/ 2423626 h 4523651"/>
                <a:gd name="connsiteX8-3205" fmla="*/ 0 w 3694535"/>
                <a:gd name="connsiteY8-3206" fmla="*/ 786212 h 4523651"/>
                <a:gd name="connsiteX9-3207" fmla="*/ 988828 w 3694535"/>
                <a:gd name="connsiteY9-3208" fmla="*/ 1955794 h 4523651"/>
                <a:gd name="connsiteX10-3209" fmla="*/ 1137684 w 3694535"/>
                <a:gd name="connsiteY10-3210" fmla="*/ 892538 h 4523651"/>
                <a:gd name="connsiteX11-3211" fmla="*/ 1222745 w 3694535"/>
                <a:gd name="connsiteY11-3212" fmla="*/ 2094017 h 4523651"/>
                <a:gd name="connsiteX12-3213" fmla="*/ 1690577 w 3694535"/>
                <a:gd name="connsiteY12-3214" fmla="*/ 2221608 h 4523651"/>
                <a:gd name="connsiteX13-3215" fmla="*/ 1956391 w 3694535"/>
                <a:gd name="connsiteY13-3216" fmla="*/ 31301 h 4523651"/>
                <a:gd name="connsiteX14-3217" fmla="*/ 2027834 w 3694535"/>
                <a:gd name="connsiteY14-3218" fmla="*/ 1017517 h 4523651"/>
                <a:gd name="connsiteX15-3219" fmla="*/ 1881963 w 3694535"/>
                <a:gd name="connsiteY15-3220" fmla="*/ 2264138 h 4523651"/>
                <a:gd name="connsiteX16-3221" fmla="*/ 2057494 w 3694535"/>
                <a:gd name="connsiteY16-3222" fmla="*/ 3077622 h 4523651"/>
                <a:gd name="connsiteX17-3223" fmla="*/ 2647507 w 3694535"/>
                <a:gd name="connsiteY17-3224" fmla="*/ 2551217 h 4523651"/>
                <a:gd name="connsiteX18-3225" fmla="*/ 2913694 w 3694535"/>
                <a:gd name="connsiteY18-3226" fmla="*/ 1323063 h 4523651"/>
                <a:gd name="connsiteX19-3227" fmla="*/ 2806809 w 3694535"/>
                <a:gd name="connsiteY19-3228" fmla="*/ 2414392 h 4523651"/>
                <a:gd name="connsiteX20-3229" fmla="*/ 3694535 w 3694535"/>
                <a:gd name="connsiteY20-3230" fmla="*/ 1155553 h 4523651"/>
                <a:gd name="connsiteX21-3231" fmla="*/ 2222205 w 3694535"/>
                <a:gd name="connsiteY21-3232" fmla="*/ 3401822 h 4523651"/>
                <a:gd name="connsiteX22-3233" fmla="*/ 2169042 w 3694535"/>
                <a:gd name="connsiteY22-3234" fmla="*/ 3848389 h 4523651"/>
                <a:gd name="connsiteX23-3235" fmla="*/ 3317358 w 3694535"/>
                <a:gd name="connsiteY23-3236" fmla="*/ 3125375 h 4523651"/>
                <a:gd name="connsiteX24-3237" fmla="*/ 2194317 w 3694535"/>
                <a:gd name="connsiteY24-3238" fmla="*/ 4062252 h 4523651"/>
                <a:gd name="connsiteX25-3239" fmla="*/ 2232838 w 3694535"/>
                <a:gd name="connsiteY25-3240" fmla="*/ 4507608 h 4523651"/>
                <a:gd name="connsiteX26-3241" fmla="*/ 2218194 w 3694535"/>
                <a:gd name="connsiteY26-3242" fmla="*/ 4522716 h 4523651"/>
                <a:gd name="connsiteX27-3243" fmla="*/ 1743740 w 3694535"/>
                <a:gd name="connsiteY27-3244" fmla="*/ 4523651 h 4523651"/>
                <a:gd name="connsiteX0-3245" fmla="*/ 1743740 w 3694535"/>
                <a:gd name="connsiteY0-3246" fmla="*/ 4522819 h 4522819"/>
                <a:gd name="connsiteX1-3247" fmla="*/ 1796903 w 3694535"/>
                <a:gd name="connsiteY1-3248" fmla="*/ 3815659 h 4522819"/>
                <a:gd name="connsiteX2-3249" fmla="*/ 1307805 w 3694535"/>
                <a:gd name="connsiteY2-3250" fmla="*/ 3411622 h 4522819"/>
                <a:gd name="connsiteX3-3251" fmla="*/ 31898 w 3694535"/>
                <a:gd name="connsiteY3-3252" fmla="*/ 2975687 h 4522819"/>
                <a:gd name="connsiteX4-3253" fmla="*/ 1127052 w 3694535"/>
                <a:gd name="connsiteY4-3254" fmla="*/ 3273399 h 4522819"/>
                <a:gd name="connsiteX5-3255" fmla="*/ 393405 w 3694535"/>
                <a:gd name="connsiteY5-3256" fmla="*/ 2486590 h 4522819"/>
                <a:gd name="connsiteX6-3257" fmla="*/ 1775638 w 3694535"/>
                <a:gd name="connsiteY6-3258" fmla="*/ 3549845 h 4522819"/>
                <a:gd name="connsiteX7-3259" fmla="*/ 1679945 w 3694535"/>
                <a:gd name="connsiteY7-3260" fmla="*/ 2422794 h 4522819"/>
                <a:gd name="connsiteX8-3261" fmla="*/ 0 w 3694535"/>
                <a:gd name="connsiteY8-3262" fmla="*/ 785380 h 4522819"/>
                <a:gd name="connsiteX9-3263" fmla="*/ 988828 w 3694535"/>
                <a:gd name="connsiteY9-3264" fmla="*/ 1954962 h 4522819"/>
                <a:gd name="connsiteX10-3265" fmla="*/ 1137684 w 3694535"/>
                <a:gd name="connsiteY10-3266" fmla="*/ 891706 h 4522819"/>
                <a:gd name="connsiteX11-3267" fmla="*/ 1222745 w 3694535"/>
                <a:gd name="connsiteY11-3268" fmla="*/ 2093185 h 4522819"/>
                <a:gd name="connsiteX12-3269" fmla="*/ 1690577 w 3694535"/>
                <a:gd name="connsiteY12-3270" fmla="*/ 2220776 h 4522819"/>
                <a:gd name="connsiteX13-3271" fmla="*/ 1956391 w 3694535"/>
                <a:gd name="connsiteY13-3272" fmla="*/ 30469 h 4522819"/>
                <a:gd name="connsiteX14-3273" fmla="*/ 2027834 w 3694535"/>
                <a:gd name="connsiteY14-3274" fmla="*/ 1016685 h 4522819"/>
                <a:gd name="connsiteX15-3275" fmla="*/ 1881963 w 3694535"/>
                <a:gd name="connsiteY15-3276" fmla="*/ 2090854 h 4522819"/>
                <a:gd name="connsiteX16-3277" fmla="*/ 2057494 w 3694535"/>
                <a:gd name="connsiteY16-3278" fmla="*/ 3076790 h 4522819"/>
                <a:gd name="connsiteX17-3279" fmla="*/ 2647507 w 3694535"/>
                <a:gd name="connsiteY17-3280" fmla="*/ 2550385 h 4522819"/>
                <a:gd name="connsiteX18-3281" fmla="*/ 2913694 w 3694535"/>
                <a:gd name="connsiteY18-3282" fmla="*/ 1322231 h 4522819"/>
                <a:gd name="connsiteX19-3283" fmla="*/ 2806809 w 3694535"/>
                <a:gd name="connsiteY19-3284" fmla="*/ 2413560 h 4522819"/>
                <a:gd name="connsiteX20-3285" fmla="*/ 3694535 w 3694535"/>
                <a:gd name="connsiteY20-3286" fmla="*/ 1154721 h 4522819"/>
                <a:gd name="connsiteX21-3287" fmla="*/ 2222205 w 3694535"/>
                <a:gd name="connsiteY21-3288" fmla="*/ 3400990 h 4522819"/>
                <a:gd name="connsiteX22-3289" fmla="*/ 2169042 w 3694535"/>
                <a:gd name="connsiteY22-3290" fmla="*/ 3847557 h 4522819"/>
                <a:gd name="connsiteX23-3291" fmla="*/ 3317358 w 3694535"/>
                <a:gd name="connsiteY23-3292" fmla="*/ 3124543 h 4522819"/>
                <a:gd name="connsiteX24-3293" fmla="*/ 2194317 w 3694535"/>
                <a:gd name="connsiteY24-3294" fmla="*/ 4061420 h 4522819"/>
                <a:gd name="connsiteX25-3295" fmla="*/ 2232838 w 3694535"/>
                <a:gd name="connsiteY25-3296" fmla="*/ 4506776 h 4522819"/>
                <a:gd name="connsiteX26-3297" fmla="*/ 2218194 w 3694535"/>
                <a:gd name="connsiteY26-3298" fmla="*/ 4521884 h 4522819"/>
                <a:gd name="connsiteX27-3299" fmla="*/ 1743740 w 3694535"/>
                <a:gd name="connsiteY27-3300" fmla="*/ 4522819 h 4522819"/>
                <a:gd name="connsiteX0-3301" fmla="*/ 1743740 w 3694535"/>
                <a:gd name="connsiteY0-3302" fmla="*/ 4522819 h 4522819"/>
                <a:gd name="connsiteX1-3303" fmla="*/ 1796903 w 3694535"/>
                <a:gd name="connsiteY1-3304" fmla="*/ 3815659 h 4522819"/>
                <a:gd name="connsiteX2-3305" fmla="*/ 1307805 w 3694535"/>
                <a:gd name="connsiteY2-3306" fmla="*/ 3411622 h 4522819"/>
                <a:gd name="connsiteX3-3307" fmla="*/ 31898 w 3694535"/>
                <a:gd name="connsiteY3-3308" fmla="*/ 2975687 h 4522819"/>
                <a:gd name="connsiteX4-3309" fmla="*/ 1127052 w 3694535"/>
                <a:gd name="connsiteY4-3310" fmla="*/ 3273399 h 4522819"/>
                <a:gd name="connsiteX5-3311" fmla="*/ 393405 w 3694535"/>
                <a:gd name="connsiteY5-3312" fmla="*/ 2486590 h 4522819"/>
                <a:gd name="connsiteX6-3313" fmla="*/ 1775638 w 3694535"/>
                <a:gd name="connsiteY6-3314" fmla="*/ 3549845 h 4522819"/>
                <a:gd name="connsiteX7-3315" fmla="*/ 1679945 w 3694535"/>
                <a:gd name="connsiteY7-3316" fmla="*/ 2422794 h 4522819"/>
                <a:gd name="connsiteX8-3317" fmla="*/ 0 w 3694535"/>
                <a:gd name="connsiteY8-3318" fmla="*/ 785380 h 4522819"/>
                <a:gd name="connsiteX9-3319" fmla="*/ 988828 w 3694535"/>
                <a:gd name="connsiteY9-3320" fmla="*/ 1954962 h 4522819"/>
                <a:gd name="connsiteX10-3321" fmla="*/ 1137684 w 3694535"/>
                <a:gd name="connsiteY10-3322" fmla="*/ 891706 h 4522819"/>
                <a:gd name="connsiteX11-3323" fmla="*/ 1222745 w 3694535"/>
                <a:gd name="connsiteY11-3324" fmla="*/ 2093185 h 4522819"/>
                <a:gd name="connsiteX12-3325" fmla="*/ 1690577 w 3694535"/>
                <a:gd name="connsiteY12-3326" fmla="*/ 2220776 h 4522819"/>
                <a:gd name="connsiteX13-3327" fmla="*/ 1956391 w 3694535"/>
                <a:gd name="connsiteY13-3328" fmla="*/ 30469 h 4522819"/>
                <a:gd name="connsiteX14-3329" fmla="*/ 2027834 w 3694535"/>
                <a:gd name="connsiteY14-3330" fmla="*/ 1016685 h 4522819"/>
                <a:gd name="connsiteX15-3331" fmla="*/ 1881963 w 3694535"/>
                <a:gd name="connsiteY15-3332" fmla="*/ 2090854 h 4522819"/>
                <a:gd name="connsiteX16-3333" fmla="*/ 2057494 w 3694535"/>
                <a:gd name="connsiteY16-3334" fmla="*/ 3076790 h 4522819"/>
                <a:gd name="connsiteX17-3335" fmla="*/ 2647507 w 3694535"/>
                <a:gd name="connsiteY17-3336" fmla="*/ 2550385 h 4522819"/>
                <a:gd name="connsiteX18-3337" fmla="*/ 2913694 w 3694535"/>
                <a:gd name="connsiteY18-3338" fmla="*/ 1322231 h 4522819"/>
                <a:gd name="connsiteX19-3339" fmla="*/ 2806809 w 3694535"/>
                <a:gd name="connsiteY19-3340" fmla="*/ 2413560 h 4522819"/>
                <a:gd name="connsiteX20-3341" fmla="*/ 3694535 w 3694535"/>
                <a:gd name="connsiteY20-3342" fmla="*/ 1154721 h 4522819"/>
                <a:gd name="connsiteX21-3343" fmla="*/ 2222205 w 3694535"/>
                <a:gd name="connsiteY21-3344" fmla="*/ 3400990 h 4522819"/>
                <a:gd name="connsiteX22-3345" fmla="*/ 2169042 w 3694535"/>
                <a:gd name="connsiteY22-3346" fmla="*/ 3847557 h 4522819"/>
                <a:gd name="connsiteX23-3347" fmla="*/ 3317358 w 3694535"/>
                <a:gd name="connsiteY23-3348" fmla="*/ 3124543 h 4522819"/>
                <a:gd name="connsiteX24-3349" fmla="*/ 2194317 w 3694535"/>
                <a:gd name="connsiteY24-3350" fmla="*/ 4061420 h 4522819"/>
                <a:gd name="connsiteX25-3351" fmla="*/ 2232838 w 3694535"/>
                <a:gd name="connsiteY25-3352" fmla="*/ 4506776 h 4522819"/>
                <a:gd name="connsiteX26-3353" fmla="*/ 2218194 w 3694535"/>
                <a:gd name="connsiteY26-3354" fmla="*/ 4521884 h 4522819"/>
                <a:gd name="connsiteX27-3355" fmla="*/ 1743740 w 3694535"/>
                <a:gd name="connsiteY27-3356" fmla="*/ 4522819 h 4522819"/>
                <a:gd name="connsiteX0-3357" fmla="*/ 1743740 w 3694535"/>
                <a:gd name="connsiteY0-3358" fmla="*/ 4522814 h 4522814"/>
                <a:gd name="connsiteX1-3359" fmla="*/ 1796903 w 3694535"/>
                <a:gd name="connsiteY1-3360" fmla="*/ 3815654 h 4522814"/>
                <a:gd name="connsiteX2-3361" fmla="*/ 1307805 w 3694535"/>
                <a:gd name="connsiteY2-3362" fmla="*/ 3411617 h 4522814"/>
                <a:gd name="connsiteX3-3363" fmla="*/ 31898 w 3694535"/>
                <a:gd name="connsiteY3-3364" fmla="*/ 2975682 h 4522814"/>
                <a:gd name="connsiteX4-3365" fmla="*/ 1127052 w 3694535"/>
                <a:gd name="connsiteY4-3366" fmla="*/ 3273394 h 4522814"/>
                <a:gd name="connsiteX5-3367" fmla="*/ 393405 w 3694535"/>
                <a:gd name="connsiteY5-3368" fmla="*/ 2486585 h 4522814"/>
                <a:gd name="connsiteX6-3369" fmla="*/ 1775638 w 3694535"/>
                <a:gd name="connsiteY6-3370" fmla="*/ 3549840 h 4522814"/>
                <a:gd name="connsiteX7-3371" fmla="*/ 1679945 w 3694535"/>
                <a:gd name="connsiteY7-3372" fmla="*/ 2422789 h 4522814"/>
                <a:gd name="connsiteX8-3373" fmla="*/ 0 w 3694535"/>
                <a:gd name="connsiteY8-3374" fmla="*/ 785375 h 4522814"/>
                <a:gd name="connsiteX9-3375" fmla="*/ 988828 w 3694535"/>
                <a:gd name="connsiteY9-3376" fmla="*/ 1954957 h 4522814"/>
                <a:gd name="connsiteX10-3377" fmla="*/ 1137684 w 3694535"/>
                <a:gd name="connsiteY10-3378" fmla="*/ 891701 h 4522814"/>
                <a:gd name="connsiteX11-3379" fmla="*/ 1222745 w 3694535"/>
                <a:gd name="connsiteY11-3380" fmla="*/ 2093180 h 4522814"/>
                <a:gd name="connsiteX12-3381" fmla="*/ 1690577 w 3694535"/>
                <a:gd name="connsiteY12-3382" fmla="*/ 2220771 h 4522814"/>
                <a:gd name="connsiteX13-3383" fmla="*/ 1956391 w 3694535"/>
                <a:gd name="connsiteY13-3384" fmla="*/ 30464 h 4522814"/>
                <a:gd name="connsiteX14-3385" fmla="*/ 2027834 w 3694535"/>
                <a:gd name="connsiteY14-3386" fmla="*/ 1016680 h 4522814"/>
                <a:gd name="connsiteX15-3387" fmla="*/ 1881963 w 3694535"/>
                <a:gd name="connsiteY15-3388" fmla="*/ 2090849 h 4522814"/>
                <a:gd name="connsiteX16-3389" fmla="*/ 2057494 w 3694535"/>
                <a:gd name="connsiteY16-3390" fmla="*/ 3076785 h 4522814"/>
                <a:gd name="connsiteX17-3391" fmla="*/ 2647507 w 3694535"/>
                <a:gd name="connsiteY17-3392" fmla="*/ 2550380 h 4522814"/>
                <a:gd name="connsiteX18-3393" fmla="*/ 2913694 w 3694535"/>
                <a:gd name="connsiteY18-3394" fmla="*/ 1322226 h 4522814"/>
                <a:gd name="connsiteX19-3395" fmla="*/ 2806809 w 3694535"/>
                <a:gd name="connsiteY19-3396" fmla="*/ 2413555 h 4522814"/>
                <a:gd name="connsiteX20-3397" fmla="*/ 3694535 w 3694535"/>
                <a:gd name="connsiteY20-3398" fmla="*/ 1154716 h 4522814"/>
                <a:gd name="connsiteX21-3399" fmla="*/ 2222205 w 3694535"/>
                <a:gd name="connsiteY21-3400" fmla="*/ 3400985 h 4522814"/>
                <a:gd name="connsiteX22-3401" fmla="*/ 2169042 w 3694535"/>
                <a:gd name="connsiteY22-3402" fmla="*/ 3847552 h 4522814"/>
                <a:gd name="connsiteX23-3403" fmla="*/ 3317358 w 3694535"/>
                <a:gd name="connsiteY23-3404" fmla="*/ 3124538 h 4522814"/>
                <a:gd name="connsiteX24-3405" fmla="*/ 2194317 w 3694535"/>
                <a:gd name="connsiteY24-3406" fmla="*/ 4061415 h 4522814"/>
                <a:gd name="connsiteX25-3407" fmla="*/ 2232838 w 3694535"/>
                <a:gd name="connsiteY25-3408" fmla="*/ 4506771 h 4522814"/>
                <a:gd name="connsiteX26-3409" fmla="*/ 2218194 w 3694535"/>
                <a:gd name="connsiteY26-3410" fmla="*/ 4521879 h 4522814"/>
                <a:gd name="connsiteX27-3411" fmla="*/ 1743740 w 3694535"/>
                <a:gd name="connsiteY27-3412" fmla="*/ 4522814 h 4522814"/>
                <a:gd name="connsiteX0-3413" fmla="*/ 1743740 w 3694535"/>
                <a:gd name="connsiteY0-3414" fmla="*/ 4492350 h 4492350"/>
                <a:gd name="connsiteX1-3415" fmla="*/ 1796903 w 3694535"/>
                <a:gd name="connsiteY1-3416" fmla="*/ 3785190 h 4492350"/>
                <a:gd name="connsiteX2-3417" fmla="*/ 1307805 w 3694535"/>
                <a:gd name="connsiteY2-3418" fmla="*/ 3381153 h 4492350"/>
                <a:gd name="connsiteX3-3419" fmla="*/ 31898 w 3694535"/>
                <a:gd name="connsiteY3-3420" fmla="*/ 2945218 h 4492350"/>
                <a:gd name="connsiteX4-3421" fmla="*/ 1127052 w 3694535"/>
                <a:gd name="connsiteY4-3422" fmla="*/ 3242930 h 4492350"/>
                <a:gd name="connsiteX5-3423" fmla="*/ 393405 w 3694535"/>
                <a:gd name="connsiteY5-3424" fmla="*/ 2456121 h 4492350"/>
                <a:gd name="connsiteX6-3425" fmla="*/ 1775638 w 3694535"/>
                <a:gd name="connsiteY6-3426" fmla="*/ 3519376 h 4492350"/>
                <a:gd name="connsiteX7-3427" fmla="*/ 1679945 w 3694535"/>
                <a:gd name="connsiteY7-3428" fmla="*/ 2392325 h 4492350"/>
                <a:gd name="connsiteX8-3429" fmla="*/ 0 w 3694535"/>
                <a:gd name="connsiteY8-3430" fmla="*/ 754911 h 4492350"/>
                <a:gd name="connsiteX9-3431" fmla="*/ 988828 w 3694535"/>
                <a:gd name="connsiteY9-3432" fmla="*/ 1924493 h 4492350"/>
                <a:gd name="connsiteX10-3433" fmla="*/ 1137684 w 3694535"/>
                <a:gd name="connsiteY10-3434" fmla="*/ 861237 h 4492350"/>
                <a:gd name="connsiteX11-3435" fmla="*/ 1222745 w 3694535"/>
                <a:gd name="connsiteY11-3436" fmla="*/ 2062716 h 4492350"/>
                <a:gd name="connsiteX12-3437" fmla="*/ 1690577 w 3694535"/>
                <a:gd name="connsiteY12-3438" fmla="*/ 2190307 h 4492350"/>
                <a:gd name="connsiteX13-3439" fmla="*/ 1956391 w 3694535"/>
                <a:gd name="connsiteY13-3440" fmla="*/ 0 h 4492350"/>
                <a:gd name="connsiteX14-3441" fmla="*/ 2027834 w 3694535"/>
                <a:gd name="connsiteY14-3442" fmla="*/ 986216 h 4492350"/>
                <a:gd name="connsiteX15-3443" fmla="*/ 1881963 w 3694535"/>
                <a:gd name="connsiteY15-3444" fmla="*/ 2060385 h 4492350"/>
                <a:gd name="connsiteX16-3445" fmla="*/ 2057494 w 3694535"/>
                <a:gd name="connsiteY16-3446" fmla="*/ 3046321 h 4492350"/>
                <a:gd name="connsiteX17-3447" fmla="*/ 2647507 w 3694535"/>
                <a:gd name="connsiteY17-3448" fmla="*/ 2519916 h 4492350"/>
                <a:gd name="connsiteX18-3449" fmla="*/ 2913694 w 3694535"/>
                <a:gd name="connsiteY18-3450" fmla="*/ 1291762 h 4492350"/>
                <a:gd name="connsiteX19-3451" fmla="*/ 2806809 w 3694535"/>
                <a:gd name="connsiteY19-3452" fmla="*/ 2383091 h 4492350"/>
                <a:gd name="connsiteX20-3453" fmla="*/ 3694535 w 3694535"/>
                <a:gd name="connsiteY20-3454" fmla="*/ 1124252 h 4492350"/>
                <a:gd name="connsiteX21-3455" fmla="*/ 2222205 w 3694535"/>
                <a:gd name="connsiteY21-3456" fmla="*/ 3370521 h 4492350"/>
                <a:gd name="connsiteX22-3457" fmla="*/ 2169042 w 3694535"/>
                <a:gd name="connsiteY22-3458" fmla="*/ 3817088 h 4492350"/>
                <a:gd name="connsiteX23-3459" fmla="*/ 3317358 w 3694535"/>
                <a:gd name="connsiteY23-3460" fmla="*/ 3094074 h 4492350"/>
                <a:gd name="connsiteX24-3461" fmla="*/ 2194317 w 3694535"/>
                <a:gd name="connsiteY24-3462" fmla="*/ 4030951 h 4492350"/>
                <a:gd name="connsiteX25-3463" fmla="*/ 2232838 w 3694535"/>
                <a:gd name="connsiteY25-3464" fmla="*/ 4476307 h 4492350"/>
                <a:gd name="connsiteX26-3465" fmla="*/ 2218194 w 3694535"/>
                <a:gd name="connsiteY26-3466" fmla="*/ 4491415 h 4492350"/>
                <a:gd name="connsiteX27-3467" fmla="*/ 1743740 w 3694535"/>
                <a:gd name="connsiteY27-3468" fmla="*/ 4492350 h 4492350"/>
                <a:gd name="connsiteX0-3469" fmla="*/ 1743740 w 3694535"/>
                <a:gd name="connsiteY0-3470" fmla="*/ 4492350 h 4492350"/>
                <a:gd name="connsiteX1-3471" fmla="*/ 1796903 w 3694535"/>
                <a:gd name="connsiteY1-3472" fmla="*/ 3785190 h 4492350"/>
                <a:gd name="connsiteX2-3473" fmla="*/ 1307805 w 3694535"/>
                <a:gd name="connsiteY2-3474" fmla="*/ 3381153 h 4492350"/>
                <a:gd name="connsiteX3-3475" fmla="*/ 31898 w 3694535"/>
                <a:gd name="connsiteY3-3476" fmla="*/ 2945218 h 4492350"/>
                <a:gd name="connsiteX4-3477" fmla="*/ 1127052 w 3694535"/>
                <a:gd name="connsiteY4-3478" fmla="*/ 3242930 h 4492350"/>
                <a:gd name="connsiteX5-3479" fmla="*/ 393405 w 3694535"/>
                <a:gd name="connsiteY5-3480" fmla="*/ 2456121 h 4492350"/>
                <a:gd name="connsiteX6-3481" fmla="*/ 1775638 w 3694535"/>
                <a:gd name="connsiteY6-3482" fmla="*/ 3519376 h 4492350"/>
                <a:gd name="connsiteX7-3483" fmla="*/ 1679945 w 3694535"/>
                <a:gd name="connsiteY7-3484" fmla="*/ 2392325 h 4492350"/>
                <a:gd name="connsiteX8-3485" fmla="*/ 0 w 3694535"/>
                <a:gd name="connsiteY8-3486" fmla="*/ 754911 h 4492350"/>
                <a:gd name="connsiteX9-3487" fmla="*/ 988828 w 3694535"/>
                <a:gd name="connsiteY9-3488" fmla="*/ 1924493 h 4492350"/>
                <a:gd name="connsiteX10-3489" fmla="*/ 1137684 w 3694535"/>
                <a:gd name="connsiteY10-3490" fmla="*/ 861237 h 4492350"/>
                <a:gd name="connsiteX11-3491" fmla="*/ 1222745 w 3694535"/>
                <a:gd name="connsiteY11-3492" fmla="*/ 2062716 h 4492350"/>
                <a:gd name="connsiteX12-3493" fmla="*/ 1690577 w 3694535"/>
                <a:gd name="connsiteY12-3494" fmla="*/ 2190307 h 4492350"/>
                <a:gd name="connsiteX13-3495" fmla="*/ 1956391 w 3694535"/>
                <a:gd name="connsiteY13-3496" fmla="*/ 0 h 4492350"/>
                <a:gd name="connsiteX14-3497" fmla="*/ 2027834 w 3694535"/>
                <a:gd name="connsiteY14-3498" fmla="*/ 986216 h 4492350"/>
                <a:gd name="connsiteX15-3499" fmla="*/ 1881963 w 3694535"/>
                <a:gd name="connsiteY15-3500" fmla="*/ 2060385 h 4492350"/>
                <a:gd name="connsiteX16-3501" fmla="*/ 2057494 w 3694535"/>
                <a:gd name="connsiteY16-3502" fmla="*/ 3046321 h 4492350"/>
                <a:gd name="connsiteX17-3503" fmla="*/ 2647507 w 3694535"/>
                <a:gd name="connsiteY17-3504" fmla="*/ 2519916 h 4492350"/>
                <a:gd name="connsiteX18-3505" fmla="*/ 2913694 w 3694535"/>
                <a:gd name="connsiteY18-3506" fmla="*/ 1291762 h 4492350"/>
                <a:gd name="connsiteX19-3507" fmla="*/ 2806809 w 3694535"/>
                <a:gd name="connsiteY19-3508" fmla="*/ 2383091 h 4492350"/>
                <a:gd name="connsiteX20-3509" fmla="*/ 3694535 w 3694535"/>
                <a:gd name="connsiteY20-3510" fmla="*/ 1124252 h 4492350"/>
                <a:gd name="connsiteX21-3511" fmla="*/ 2222205 w 3694535"/>
                <a:gd name="connsiteY21-3512" fmla="*/ 3370521 h 4492350"/>
                <a:gd name="connsiteX22-3513" fmla="*/ 2169042 w 3694535"/>
                <a:gd name="connsiteY22-3514" fmla="*/ 3817088 h 4492350"/>
                <a:gd name="connsiteX23-3515" fmla="*/ 3317358 w 3694535"/>
                <a:gd name="connsiteY23-3516" fmla="*/ 3094074 h 4492350"/>
                <a:gd name="connsiteX24-3517" fmla="*/ 2194317 w 3694535"/>
                <a:gd name="connsiteY24-3518" fmla="*/ 4030951 h 4492350"/>
                <a:gd name="connsiteX25-3519" fmla="*/ 2232838 w 3694535"/>
                <a:gd name="connsiteY25-3520" fmla="*/ 4476307 h 4492350"/>
                <a:gd name="connsiteX26-3521" fmla="*/ 2218194 w 3694535"/>
                <a:gd name="connsiteY26-3522" fmla="*/ 4491415 h 4492350"/>
                <a:gd name="connsiteX27-3523" fmla="*/ 1743740 w 3694535"/>
                <a:gd name="connsiteY27-3524" fmla="*/ 4492350 h 4492350"/>
                <a:gd name="connsiteX0-3525" fmla="*/ 1743740 w 3694535"/>
                <a:gd name="connsiteY0-3526" fmla="*/ 4492350 h 4492350"/>
                <a:gd name="connsiteX1-3527" fmla="*/ 1796903 w 3694535"/>
                <a:gd name="connsiteY1-3528" fmla="*/ 3785190 h 4492350"/>
                <a:gd name="connsiteX2-3529" fmla="*/ 1307805 w 3694535"/>
                <a:gd name="connsiteY2-3530" fmla="*/ 3381153 h 4492350"/>
                <a:gd name="connsiteX3-3531" fmla="*/ 31898 w 3694535"/>
                <a:gd name="connsiteY3-3532" fmla="*/ 2945218 h 4492350"/>
                <a:gd name="connsiteX4-3533" fmla="*/ 1127052 w 3694535"/>
                <a:gd name="connsiteY4-3534" fmla="*/ 3242930 h 4492350"/>
                <a:gd name="connsiteX5-3535" fmla="*/ 393405 w 3694535"/>
                <a:gd name="connsiteY5-3536" fmla="*/ 2456121 h 4492350"/>
                <a:gd name="connsiteX6-3537" fmla="*/ 1775638 w 3694535"/>
                <a:gd name="connsiteY6-3538" fmla="*/ 3519376 h 4492350"/>
                <a:gd name="connsiteX7-3539" fmla="*/ 1679945 w 3694535"/>
                <a:gd name="connsiteY7-3540" fmla="*/ 2392325 h 4492350"/>
                <a:gd name="connsiteX8-3541" fmla="*/ 0 w 3694535"/>
                <a:gd name="connsiteY8-3542" fmla="*/ 754911 h 4492350"/>
                <a:gd name="connsiteX9-3543" fmla="*/ 988828 w 3694535"/>
                <a:gd name="connsiteY9-3544" fmla="*/ 1924493 h 4492350"/>
                <a:gd name="connsiteX10-3545" fmla="*/ 1137684 w 3694535"/>
                <a:gd name="connsiteY10-3546" fmla="*/ 861237 h 4492350"/>
                <a:gd name="connsiteX11-3547" fmla="*/ 1222745 w 3694535"/>
                <a:gd name="connsiteY11-3548" fmla="*/ 2062716 h 4492350"/>
                <a:gd name="connsiteX12-3549" fmla="*/ 1690577 w 3694535"/>
                <a:gd name="connsiteY12-3550" fmla="*/ 2190307 h 4492350"/>
                <a:gd name="connsiteX13-3551" fmla="*/ 1956391 w 3694535"/>
                <a:gd name="connsiteY13-3552" fmla="*/ 0 h 4492350"/>
                <a:gd name="connsiteX14-3553" fmla="*/ 2027834 w 3694535"/>
                <a:gd name="connsiteY14-3554" fmla="*/ 986216 h 4492350"/>
                <a:gd name="connsiteX15-3555" fmla="*/ 1881963 w 3694535"/>
                <a:gd name="connsiteY15-3556" fmla="*/ 2060385 h 4492350"/>
                <a:gd name="connsiteX16-3557" fmla="*/ 2057494 w 3694535"/>
                <a:gd name="connsiteY16-3558" fmla="*/ 3046321 h 4492350"/>
                <a:gd name="connsiteX17-3559" fmla="*/ 2647507 w 3694535"/>
                <a:gd name="connsiteY17-3560" fmla="*/ 2519916 h 4492350"/>
                <a:gd name="connsiteX18-3561" fmla="*/ 2913694 w 3694535"/>
                <a:gd name="connsiteY18-3562" fmla="*/ 1291762 h 4492350"/>
                <a:gd name="connsiteX19-3563" fmla="*/ 2806809 w 3694535"/>
                <a:gd name="connsiteY19-3564" fmla="*/ 2383091 h 4492350"/>
                <a:gd name="connsiteX20-3565" fmla="*/ 3694535 w 3694535"/>
                <a:gd name="connsiteY20-3566" fmla="*/ 1124252 h 4492350"/>
                <a:gd name="connsiteX21-3567" fmla="*/ 2222205 w 3694535"/>
                <a:gd name="connsiteY21-3568" fmla="*/ 3370521 h 4492350"/>
                <a:gd name="connsiteX22-3569" fmla="*/ 2169042 w 3694535"/>
                <a:gd name="connsiteY22-3570" fmla="*/ 3817088 h 4492350"/>
                <a:gd name="connsiteX23-3571" fmla="*/ 3317358 w 3694535"/>
                <a:gd name="connsiteY23-3572" fmla="*/ 3094074 h 4492350"/>
                <a:gd name="connsiteX24-3573" fmla="*/ 2194317 w 3694535"/>
                <a:gd name="connsiteY24-3574" fmla="*/ 4030951 h 4492350"/>
                <a:gd name="connsiteX25-3575" fmla="*/ 2232838 w 3694535"/>
                <a:gd name="connsiteY25-3576" fmla="*/ 4476307 h 4492350"/>
                <a:gd name="connsiteX26-3577" fmla="*/ 2218194 w 3694535"/>
                <a:gd name="connsiteY26-3578" fmla="*/ 4491415 h 4492350"/>
                <a:gd name="connsiteX27-3579" fmla="*/ 1743740 w 3694535"/>
                <a:gd name="connsiteY27-3580" fmla="*/ 4492350 h 4492350"/>
                <a:gd name="connsiteX0-3581" fmla="*/ 1743740 w 3694535"/>
                <a:gd name="connsiteY0-3582" fmla="*/ 4492350 h 4492350"/>
                <a:gd name="connsiteX1-3583" fmla="*/ 1796903 w 3694535"/>
                <a:gd name="connsiteY1-3584" fmla="*/ 3785190 h 4492350"/>
                <a:gd name="connsiteX2-3585" fmla="*/ 1307805 w 3694535"/>
                <a:gd name="connsiteY2-3586" fmla="*/ 3381153 h 4492350"/>
                <a:gd name="connsiteX3-3587" fmla="*/ 31898 w 3694535"/>
                <a:gd name="connsiteY3-3588" fmla="*/ 2945218 h 4492350"/>
                <a:gd name="connsiteX4-3589" fmla="*/ 1127052 w 3694535"/>
                <a:gd name="connsiteY4-3590" fmla="*/ 3242930 h 4492350"/>
                <a:gd name="connsiteX5-3591" fmla="*/ 393405 w 3694535"/>
                <a:gd name="connsiteY5-3592" fmla="*/ 2456121 h 4492350"/>
                <a:gd name="connsiteX6-3593" fmla="*/ 1775638 w 3694535"/>
                <a:gd name="connsiteY6-3594" fmla="*/ 3519376 h 4492350"/>
                <a:gd name="connsiteX7-3595" fmla="*/ 1679945 w 3694535"/>
                <a:gd name="connsiteY7-3596" fmla="*/ 2392325 h 4492350"/>
                <a:gd name="connsiteX8-3597" fmla="*/ 0 w 3694535"/>
                <a:gd name="connsiteY8-3598" fmla="*/ 754911 h 4492350"/>
                <a:gd name="connsiteX9-3599" fmla="*/ 988828 w 3694535"/>
                <a:gd name="connsiteY9-3600" fmla="*/ 1924493 h 4492350"/>
                <a:gd name="connsiteX10-3601" fmla="*/ 1137684 w 3694535"/>
                <a:gd name="connsiteY10-3602" fmla="*/ 861237 h 4492350"/>
                <a:gd name="connsiteX11-3603" fmla="*/ 1222745 w 3694535"/>
                <a:gd name="connsiteY11-3604" fmla="*/ 2062716 h 4492350"/>
                <a:gd name="connsiteX12-3605" fmla="*/ 1690577 w 3694535"/>
                <a:gd name="connsiteY12-3606" fmla="*/ 2190307 h 4492350"/>
                <a:gd name="connsiteX13-3607" fmla="*/ 1956391 w 3694535"/>
                <a:gd name="connsiteY13-3608" fmla="*/ 0 h 4492350"/>
                <a:gd name="connsiteX14-3609" fmla="*/ 2027834 w 3694535"/>
                <a:gd name="connsiteY14-3610" fmla="*/ 986216 h 4492350"/>
                <a:gd name="connsiteX15-3611" fmla="*/ 1881963 w 3694535"/>
                <a:gd name="connsiteY15-3612" fmla="*/ 2060385 h 4492350"/>
                <a:gd name="connsiteX16-3613" fmla="*/ 2057494 w 3694535"/>
                <a:gd name="connsiteY16-3614" fmla="*/ 3046321 h 4492350"/>
                <a:gd name="connsiteX17-3615" fmla="*/ 2647507 w 3694535"/>
                <a:gd name="connsiteY17-3616" fmla="*/ 2519916 h 4492350"/>
                <a:gd name="connsiteX18-3617" fmla="*/ 2913694 w 3694535"/>
                <a:gd name="connsiteY18-3618" fmla="*/ 1291762 h 4492350"/>
                <a:gd name="connsiteX19-3619" fmla="*/ 2806809 w 3694535"/>
                <a:gd name="connsiteY19-3620" fmla="*/ 2383091 h 4492350"/>
                <a:gd name="connsiteX20-3621" fmla="*/ 3694535 w 3694535"/>
                <a:gd name="connsiteY20-3622" fmla="*/ 1124252 h 4492350"/>
                <a:gd name="connsiteX21-3623" fmla="*/ 2222205 w 3694535"/>
                <a:gd name="connsiteY21-3624" fmla="*/ 3370521 h 4492350"/>
                <a:gd name="connsiteX22-3625" fmla="*/ 2169042 w 3694535"/>
                <a:gd name="connsiteY22-3626" fmla="*/ 3817088 h 4492350"/>
                <a:gd name="connsiteX23-3627" fmla="*/ 3317358 w 3694535"/>
                <a:gd name="connsiteY23-3628" fmla="*/ 3094074 h 4492350"/>
                <a:gd name="connsiteX24-3629" fmla="*/ 2194317 w 3694535"/>
                <a:gd name="connsiteY24-3630" fmla="*/ 4030951 h 4492350"/>
                <a:gd name="connsiteX25-3631" fmla="*/ 2232838 w 3694535"/>
                <a:gd name="connsiteY25-3632" fmla="*/ 4476307 h 4492350"/>
                <a:gd name="connsiteX26-3633" fmla="*/ 2218194 w 3694535"/>
                <a:gd name="connsiteY26-3634" fmla="*/ 4491415 h 4492350"/>
                <a:gd name="connsiteX27-3635" fmla="*/ 1743740 w 3694535"/>
                <a:gd name="connsiteY27-3636" fmla="*/ 4492350 h 4492350"/>
                <a:gd name="connsiteX0-3637" fmla="*/ 1743740 w 3694535"/>
                <a:gd name="connsiteY0-3638" fmla="*/ 4492350 h 4492350"/>
                <a:gd name="connsiteX1-3639" fmla="*/ 1796903 w 3694535"/>
                <a:gd name="connsiteY1-3640" fmla="*/ 3785190 h 4492350"/>
                <a:gd name="connsiteX2-3641" fmla="*/ 1307805 w 3694535"/>
                <a:gd name="connsiteY2-3642" fmla="*/ 3381153 h 4492350"/>
                <a:gd name="connsiteX3-3643" fmla="*/ 31898 w 3694535"/>
                <a:gd name="connsiteY3-3644" fmla="*/ 2945218 h 4492350"/>
                <a:gd name="connsiteX4-3645" fmla="*/ 1127052 w 3694535"/>
                <a:gd name="connsiteY4-3646" fmla="*/ 3242930 h 4492350"/>
                <a:gd name="connsiteX5-3647" fmla="*/ 393405 w 3694535"/>
                <a:gd name="connsiteY5-3648" fmla="*/ 2456121 h 4492350"/>
                <a:gd name="connsiteX6-3649" fmla="*/ 1775638 w 3694535"/>
                <a:gd name="connsiteY6-3650" fmla="*/ 3519376 h 4492350"/>
                <a:gd name="connsiteX7-3651" fmla="*/ 1679945 w 3694535"/>
                <a:gd name="connsiteY7-3652" fmla="*/ 2392325 h 4492350"/>
                <a:gd name="connsiteX8-3653" fmla="*/ 0 w 3694535"/>
                <a:gd name="connsiteY8-3654" fmla="*/ 754911 h 4492350"/>
                <a:gd name="connsiteX9-3655" fmla="*/ 988828 w 3694535"/>
                <a:gd name="connsiteY9-3656" fmla="*/ 1924493 h 4492350"/>
                <a:gd name="connsiteX10-3657" fmla="*/ 1137684 w 3694535"/>
                <a:gd name="connsiteY10-3658" fmla="*/ 861237 h 4492350"/>
                <a:gd name="connsiteX11-3659" fmla="*/ 1222745 w 3694535"/>
                <a:gd name="connsiteY11-3660" fmla="*/ 2062716 h 4492350"/>
                <a:gd name="connsiteX12-3661" fmla="*/ 1690577 w 3694535"/>
                <a:gd name="connsiteY12-3662" fmla="*/ 2190307 h 4492350"/>
                <a:gd name="connsiteX13-3663" fmla="*/ 1956391 w 3694535"/>
                <a:gd name="connsiteY13-3664" fmla="*/ 0 h 4492350"/>
                <a:gd name="connsiteX14-3665" fmla="*/ 2027834 w 3694535"/>
                <a:gd name="connsiteY14-3666" fmla="*/ 986216 h 4492350"/>
                <a:gd name="connsiteX15-3667" fmla="*/ 1881963 w 3694535"/>
                <a:gd name="connsiteY15-3668" fmla="*/ 2060385 h 4492350"/>
                <a:gd name="connsiteX16-3669" fmla="*/ 2057494 w 3694535"/>
                <a:gd name="connsiteY16-3670" fmla="*/ 3046321 h 4492350"/>
                <a:gd name="connsiteX17-3671" fmla="*/ 2647507 w 3694535"/>
                <a:gd name="connsiteY17-3672" fmla="*/ 2519916 h 4492350"/>
                <a:gd name="connsiteX18-3673" fmla="*/ 2913694 w 3694535"/>
                <a:gd name="connsiteY18-3674" fmla="*/ 1291762 h 4492350"/>
                <a:gd name="connsiteX19-3675" fmla="*/ 2806809 w 3694535"/>
                <a:gd name="connsiteY19-3676" fmla="*/ 2383091 h 4492350"/>
                <a:gd name="connsiteX20-3677" fmla="*/ 3694535 w 3694535"/>
                <a:gd name="connsiteY20-3678" fmla="*/ 1124252 h 4492350"/>
                <a:gd name="connsiteX21-3679" fmla="*/ 2222205 w 3694535"/>
                <a:gd name="connsiteY21-3680" fmla="*/ 3370521 h 4492350"/>
                <a:gd name="connsiteX22-3681" fmla="*/ 2169042 w 3694535"/>
                <a:gd name="connsiteY22-3682" fmla="*/ 3817088 h 4492350"/>
                <a:gd name="connsiteX23-3683" fmla="*/ 3317358 w 3694535"/>
                <a:gd name="connsiteY23-3684" fmla="*/ 3094074 h 4492350"/>
                <a:gd name="connsiteX24-3685" fmla="*/ 2194317 w 3694535"/>
                <a:gd name="connsiteY24-3686" fmla="*/ 4030951 h 4492350"/>
                <a:gd name="connsiteX25-3687" fmla="*/ 2232838 w 3694535"/>
                <a:gd name="connsiteY25-3688" fmla="*/ 4476307 h 4492350"/>
                <a:gd name="connsiteX26-3689" fmla="*/ 2218194 w 3694535"/>
                <a:gd name="connsiteY26-3690" fmla="*/ 4491415 h 4492350"/>
                <a:gd name="connsiteX27-3691" fmla="*/ 1743740 w 3694535"/>
                <a:gd name="connsiteY27-3692" fmla="*/ 4492350 h 4492350"/>
                <a:gd name="connsiteX0-3693" fmla="*/ 1743740 w 3694535"/>
                <a:gd name="connsiteY0-3694" fmla="*/ 4492350 h 4492350"/>
                <a:gd name="connsiteX1-3695" fmla="*/ 1796903 w 3694535"/>
                <a:gd name="connsiteY1-3696" fmla="*/ 3785190 h 4492350"/>
                <a:gd name="connsiteX2-3697" fmla="*/ 1307805 w 3694535"/>
                <a:gd name="connsiteY2-3698" fmla="*/ 3381153 h 4492350"/>
                <a:gd name="connsiteX3-3699" fmla="*/ 31898 w 3694535"/>
                <a:gd name="connsiteY3-3700" fmla="*/ 2945218 h 4492350"/>
                <a:gd name="connsiteX4-3701" fmla="*/ 1127052 w 3694535"/>
                <a:gd name="connsiteY4-3702" fmla="*/ 3242930 h 4492350"/>
                <a:gd name="connsiteX5-3703" fmla="*/ 393405 w 3694535"/>
                <a:gd name="connsiteY5-3704" fmla="*/ 2456121 h 4492350"/>
                <a:gd name="connsiteX6-3705" fmla="*/ 1775638 w 3694535"/>
                <a:gd name="connsiteY6-3706" fmla="*/ 3519376 h 4492350"/>
                <a:gd name="connsiteX7-3707" fmla="*/ 1679945 w 3694535"/>
                <a:gd name="connsiteY7-3708" fmla="*/ 2392325 h 4492350"/>
                <a:gd name="connsiteX8-3709" fmla="*/ 0 w 3694535"/>
                <a:gd name="connsiteY8-3710" fmla="*/ 754911 h 4492350"/>
                <a:gd name="connsiteX9-3711" fmla="*/ 988828 w 3694535"/>
                <a:gd name="connsiteY9-3712" fmla="*/ 1924493 h 4492350"/>
                <a:gd name="connsiteX10-3713" fmla="*/ 1137684 w 3694535"/>
                <a:gd name="connsiteY10-3714" fmla="*/ 861237 h 4492350"/>
                <a:gd name="connsiteX11-3715" fmla="*/ 1222745 w 3694535"/>
                <a:gd name="connsiteY11-3716" fmla="*/ 2062716 h 4492350"/>
                <a:gd name="connsiteX12-3717" fmla="*/ 1690577 w 3694535"/>
                <a:gd name="connsiteY12-3718" fmla="*/ 2190307 h 4492350"/>
                <a:gd name="connsiteX13-3719" fmla="*/ 1956391 w 3694535"/>
                <a:gd name="connsiteY13-3720" fmla="*/ 0 h 4492350"/>
                <a:gd name="connsiteX14-3721" fmla="*/ 2027834 w 3694535"/>
                <a:gd name="connsiteY14-3722" fmla="*/ 986216 h 4492350"/>
                <a:gd name="connsiteX15-3723" fmla="*/ 1881963 w 3694535"/>
                <a:gd name="connsiteY15-3724" fmla="*/ 2060385 h 4492350"/>
                <a:gd name="connsiteX16-3725" fmla="*/ 2057494 w 3694535"/>
                <a:gd name="connsiteY16-3726" fmla="*/ 3046321 h 4492350"/>
                <a:gd name="connsiteX17-3727" fmla="*/ 2647507 w 3694535"/>
                <a:gd name="connsiteY17-3728" fmla="*/ 2519916 h 4492350"/>
                <a:gd name="connsiteX18-3729" fmla="*/ 2913694 w 3694535"/>
                <a:gd name="connsiteY18-3730" fmla="*/ 1291762 h 4492350"/>
                <a:gd name="connsiteX19-3731" fmla="*/ 2806809 w 3694535"/>
                <a:gd name="connsiteY19-3732" fmla="*/ 2383091 h 4492350"/>
                <a:gd name="connsiteX20-3733" fmla="*/ 3694535 w 3694535"/>
                <a:gd name="connsiteY20-3734" fmla="*/ 1124252 h 4492350"/>
                <a:gd name="connsiteX21-3735" fmla="*/ 2222205 w 3694535"/>
                <a:gd name="connsiteY21-3736" fmla="*/ 3370521 h 4492350"/>
                <a:gd name="connsiteX22-3737" fmla="*/ 2169042 w 3694535"/>
                <a:gd name="connsiteY22-3738" fmla="*/ 3817088 h 4492350"/>
                <a:gd name="connsiteX23-3739" fmla="*/ 3317358 w 3694535"/>
                <a:gd name="connsiteY23-3740" fmla="*/ 3094074 h 4492350"/>
                <a:gd name="connsiteX24-3741" fmla="*/ 2194317 w 3694535"/>
                <a:gd name="connsiteY24-3742" fmla="*/ 4030951 h 4492350"/>
                <a:gd name="connsiteX25-3743" fmla="*/ 2232838 w 3694535"/>
                <a:gd name="connsiteY25-3744" fmla="*/ 4476307 h 4492350"/>
                <a:gd name="connsiteX26-3745" fmla="*/ 2218194 w 3694535"/>
                <a:gd name="connsiteY26-3746" fmla="*/ 4491415 h 4492350"/>
                <a:gd name="connsiteX27-3747" fmla="*/ 1743740 w 3694535"/>
                <a:gd name="connsiteY27-3748" fmla="*/ 4492350 h 4492350"/>
                <a:gd name="connsiteX0-3749" fmla="*/ 1743740 w 3694535"/>
                <a:gd name="connsiteY0-3750" fmla="*/ 4492350 h 4492350"/>
                <a:gd name="connsiteX1-3751" fmla="*/ 1796903 w 3694535"/>
                <a:gd name="connsiteY1-3752" fmla="*/ 3785190 h 4492350"/>
                <a:gd name="connsiteX2-3753" fmla="*/ 1307805 w 3694535"/>
                <a:gd name="connsiteY2-3754" fmla="*/ 3381153 h 4492350"/>
                <a:gd name="connsiteX3-3755" fmla="*/ 31898 w 3694535"/>
                <a:gd name="connsiteY3-3756" fmla="*/ 2945218 h 4492350"/>
                <a:gd name="connsiteX4-3757" fmla="*/ 1127052 w 3694535"/>
                <a:gd name="connsiteY4-3758" fmla="*/ 3242930 h 4492350"/>
                <a:gd name="connsiteX5-3759" fmla="*/ 393405 w 3694535"/>
                <a:gd name="connsiteY5-3760" fmla="*/ 2456121 h 4492350"/>
                <a:gd name="connsiteX6-3761" fmla="*/ 1775638 w 3694535"/>
                <a:gd name="connsiteY6-3762" fmla="*/ 3519376 h 4492350"/>
                <a:gd name="connsiteX7-3763" fmla="*/ 1679945 w 3694535"/>
                <a:gd name="connsiteY7-3764" fmla="*/ 2392325 h 4492350"/>
                <a:gd name="connsiteX8-3765" fmla="*/ 0 w 3694535"/>
                <a:gd name="connsiteY8-3766" fmla="*/ 754911 h 4492350"/>
                <a:gd name="connsiteX9-3767" fmla="*/ 988828 w 3694535"/>
                <a:gd name="connsiteY9-3768" fmla="*/ 1924493 h 4492350"/>
                <a:gd name="connsiteX10-3769" fmla="*/ 1137684 w 3694535"/>
                <a:gd name="connsiteY10-3770" fmla="*/ 861237 h 4492350"/>
                <a:gd name="connsiteX11-3771" fmla="*/ 1222745 w 3694535"/>
                <a:gd name="connsiteY11-3772" fmla="*/ 2062716 h 4492350"/>
                <a:gd name="connsiteX12-3773" fmla="*/ 1690577 w 3694535"/>
                <a:gd name="connsiteY12-3774" fmla="*/ 2190307 h 4492350"/>
                <a:gd name="connsiteX13-3775" fmla="*/ 1956391 w 3694535"/>
                <a:gd name="connsiteY13-3776" fmla="*/ 0 h 4492350"/>
                <a:gd name="connsiteX14-3777" fmla="*/ 2027834 w 3694535"/>
                <a:gd name="connsiteY14-3778" fmla="*/ 986216 h 4492350"/>
                <a:gd name="connsiteX15-3779" fmla="*/ 1881963 w 3694535"/>
                <a:gd name="connsiteY15-3780" fmla="*/ 2060385 h 4492350"/>
                <a:gd name="connsiteX16-3781" fmla="*/ 2057494 w 3694535"/>
                <a:gd name="connsiteY16-3782" fmla="*/ 3046321 h 4492350"/>
                <a:gd name="connsiteX17-3783" fmla="*/ 2647507 w 3694535"/>
                <a:gd name="connsiteY17-3784" fmla="*/ 2519916 h 4492350"/>
                <a:gd name="connsiteX18-3785" fmla="*/ 2913694 w 3694535"/>
                <a:gd name="connsiteY18-3786" fmla="*/ 1291762 h 4492350"/>
                <a:gd name="connsiteX19-3787" fmla="*/ 2806809 w 3694535"/>
                <a:gd name="connsiteY19-3788" fmla="*/ 2383091 h 4492350"/>
                <a:gd name="connsiteX20-3789" fmla="*/ 3694535 w 3694535"/>
                <a:gd name="connsiteY20-3790" fmla="*/ 1124252 h 4492350"/>
                <a:gd name="connsiteX21-3791" fmla="*/ 2222205 w 3694535"/>
                <a:gd name="connsiteY21-3792" fmla="*/ 3370521 h 4492350"/>
                <a:gd name="connsiteX22-3793" fmla="*/ 2169042 w 3694535"/>
                <a:gd name="connsiteY22-3794" fmla="*/ 3817088 h 4492350"/>
                <a:gd name="connsiteX23-3795" fmla="*/ 3317358 w 3694535"/>
                <a:gd name="connsiteY23-3796" fmla="*/ 3094074 h 4492350"/>
                <a:gd name="connsiteX24-3797" fmla="*/ 2194317 w 3694535"/>
                <a:gd name="connsiteY24-3798" fmla="*/ 4030951 h 4492350"/>
                <a:gd name="connsiteX25-3799" fmla="*/ 2232838 w 3694535"/>
                <a:gd name="connsiteY25-3800" fmla="*/ 4476307 h 4492350"/>
                <a:gd name="connsiteX26-3801" fmla="*/ 2218194 w 3694535"/>
                <a:gd name="connsiteY26-3802" fmla="*/ 4491415 h 4492350"/>
                <a:gd name="connsiteX27-3803" fmla="*/ 1743740 w 3694535"/>
                <a:gd name="connsiteY27-3804" fmla="*/ 4492350 h 4492350"/>
                <a:gd name="connsiteX0-3805" fmla="*/ 1743740 w 3694535"/>
                <a:gd name="connsiteY0-3806" fmla="*/ 4492350 h 4492350"/>
                <a:gd name="connsiteX1-3807" fmla="*/ 1796903 w 3694535"/>
                <a:gd name="connsiteY1-3808" fmla="*/ 3785190 h 4492350"/>
                <a:gd name="connsiteX2-3809" fmla="*/ 1307805 w 3694535"/>
                <a:gd name="connsiteY2-3810" fmla="*/ 3381153 h 4492350"/>
                <a:gd name="connsiteX3-3811" fmla="*/ 31898 w 3694535"/>
                <a:gd name="connsiteY3-3812" fmla="*/ 2945218 h 4492350"/>
                <a:gd name="connsiteX4-3813" fmla="*/ 1127052 w 3694535"/>
                <a:gd name="connsiteY4-3814" fmla="*/ 3242930 h 4492350"/>
                <a:gd name="connsiteX5-3815" fmla="*/ 393405 w 3694535"/>
                <a:gd name="connsiteY5-3816" fmla="*/ 2456121 h 4492350"/>
                <a:gd name="connsiteX6-3817" fmla="*/ 1775638 w 3694535"/>
                <a:gd name="connsiteY6-3818" fmla="*/ 3519376 h 4492350"/>
                <a:gd name="connsiteX7-3819" fmla="*/ 1683956 w 3694535"/>
                <a:gd name="connsiteY7-3820" fmla="*/ 2424409 h 4492350"/>
                <a:gd name="connsiteX8-3821" fmla="*/ 0 w 3694535"/>
                <a:gd name="connsiteY8-3822" fmla="*/ 754911 h 4492350"/>
                <a:gd name="connsiteX9-3823" fmla="*/ 988828 w 3694535"/>
                <a:gd name="connsiteY9-3824" fmla="*/ 1924493 h 4492350"/>
                <a:gd name="connsiteX10-3825" fmla="*/ 1137684 w 3694535"/>
                <a:gd name="connsiteY10-3826" fmla="*/ 861237 h 4492350"/>
                <a:gd name="connsiteX11-3827" fmla="*/ 1222745 w 3694535"/>
                <a:gd name="connsiteY11-3828" fmla="*/ 2062716 h 4492350"/>
                <a:gd name="connsiteX12-3829" fmla="*/ 1690577 w 3694535"/>
                <a:gd name="connsiteY12-3830" fmla="*/ 2190307 h 4492350"/>
                <a:gd name="connsiteX13-3831" fmla="*/ 1956391 w 3694535"/>
                <a:gd name="connsiteY13-3832" fmla="*/ 0 h 4492350"/>
                <a:gd name="connsiteX14-3833" fmla="*/ 2027834 w 3694535"/>
                <a:gd name="connsiteY14-3834" fmla="*/ 986216 h 4492350"/>
                <a:gd name="connsiteX15-3835" fmla="*/ 1881963 w 3694535"/>
                <a:gd name="connsiteY15-3836" fmla="*/ 2060385 h 4492350"/>
                <a:gd name="connsiteX16-3837" fmla="*/ 2057494 w 3694535"/>
                <a:gd name="connsiteY16-3838" fmla="*/ 3046321 h 4492350"/>
                <a:gd name="connsiteX17-3839" fmla="*/ 2647507 w 3694535"/>
                <a:gd name="connsiteY17-3840" fmla="*/ 2519916 h 4492350"/>
                <a:gd name="connsiteX18-3841" fmla="*/ 2913694 w 3694535"/>
                <a:gd name="connsiteY18-3842" fmla="*/ 1291762 h 4492350"/>
                <a:gd name="connsiteX19-3843" fmla="*/ 2806809 w 3694535"/>
                <a:gd name="connsiteY19-3844" fmla="*/ 2383091 h 4492350"/>
                <a:gd name="connsiteX20-3845" fmla="*/ 3694535 w 3694535"/>
                <a:gd name="connsiteY20-3846" fmla="*/ 1124252 h 4492350"/>
                <a:gd name="connsiteX21-3847" fmla="*/ 2222205 w 3694535"/>
                <a:gd name="connsiteY21-3848" fmla="*/ 3370521 h 4492350"/>
                <a:gd name="connsiteX22-3849" fmla="*/ 2169042 w 3694535"/>
                <a:gd name="connsiteY22-3850" fmla="*/ 3817088 h 4492350"/>
                <a:gd name="connsiteX23-3851" fmla="*/ 3317358 w 3694535"/>
                <a:gd name="connsiteY23-3852" fmla="*/ 3094074 h 4492350"/>
                <a:gd name="connsiteX24-3853" fmla="*/ 2194317 w 3694535"/>
                <a:gd name="connsiteY24-3854" fmla="*/ 4030951 h 4492350"/>
                <a:gd name="connsiteX25-3855" fmla="*/ 2232838 w 3694535"/>
                <a:gd name="connsiteY25-3856" fmla="*/ 4476307 h 4492350"/>
                <a:gd name="connsiteX26-3857" fmla="*/ 2218194 w 3694535"/>
                <a:gd name="connsiteY26-3858" fmla="*/ 4491415 h 4492350"/>
                <a:gd name="connsiteX27-3859" fmla="*/ 1743740 w 3694535"/>
                <a:gd name="connsiteY27-3860" fmla="*/ 4492350 h 4492350"/>
                <a:gd name="connsiteX0-3861" fmla="*/ 1743740 w 3694535"/>
                <a:gd name="connsiteY0-3862" fmla="*/ 4492350 h 4492350"/>
                <a:gd name="connsiteX1-3863" fmla="*/ 1796903 w 3694535"/>
                <a:gd name="connsiteY1-3864" fmla="*/ 3785190 h 4492350"/>
                <a:gd name="connsiteX2-3865" fmla="*/ 1307805 w 3694535"/>
                <a:gd name="connsiteY2-3866" fmla="*/ 3381153 h 4492350"/>
                <a:gd name="connsiteX3-3867" fmla="*/ 31898 w 3694535"/>
                <a:gd name="connsiteY3-3868" fmla="*/ 2945218 h 4492350"/>
                <a:gd name="connsiteX4-3869" fmla="*/ 1127052 w 3694535"/>
                <a:gd name="connsiteY4-3870" fmla="*/ 3242930 h 4492350"/>
                <a:gd name="connsiteX5-3871" fmla="*/ 393405 w 3694535"/>
                <a:gd name="connsiteY5-3872" fmla="*/ 2456121 h 4492350"/>
                <a:gd name="connsiteX6-3873" fmla="*/ 1775638 w 3694535"/>
                <a:gd name="connsiteY6-3874" fmla="*/ 3519376 h 4492350"/>
                <a:gd name="connsiteX7-3875" fmla="*/ 1683956 w 3694535"/>
                <a:gd name="connsiteY7-3876" fmla="*/ 2424409 h 4492350"/>
                <a:gd name="connsiteX8-3877" fmla="*/ 0 w 3694535"/>
                <a:gd name="connsiteY8-3878" fmla="*/ 754911 h 4492350"/>
                <a:gd name="connsiteX9-3879" fmla="*/ 988828 w 3694535"/>
                <a:gd name="connsiteY9-3880" fmla="*/ 1924493 h 4492350"/>
                <a:gd name="connsiteX10-3881" fmla="*/ 1137684 w 3694535"/>
                <a:gd name="connsiteY10-3882" fmla="*/ 861237 h 4492350"/>
                <a:gd name="connsiteX11-3883" fmla="*/ 1222745 w 3694535"/>
                <a:gd name="connsiteY11-3884" fmla="*/ 2062716 h 4492350"/>
                <a:gd name="connsiteX12-3885" fmla="*/ 1690577 w 3694535"/>
                <a:gd name="connsiteY12-3886" fmla="*/ 2190307 h 4492350"/>
                <a:gd name="connsiteX13-3887" fmla="*/ 1956391 w 3694535"/>
                <a:gd name="connsiteY13-3888" fmla="*/ 0 h 4492350"/>
                <a:gd name="connsiteX14-3889" fmla="*/ 2027834 w 3694535"/>
                <a:gd name="connsiteY14-3890" fmla="*/ 986216 h 4492350"/>
                <a:gd name="connsiteX15-3891" fmla="*/ 1881963 w 3694535"/>
                <a:gd name="connsiteY15-3892" fmla="*/ 2060385 h 4492350"/>
                <a:gd name="connsiteX16-3893" fmla="*/ 2057494 w 3694535"/>
                <a:gd name="connsiteY16-3894" fmla="*/ 3046321 h 4492350"/>
                <a:gd name="connsiteX17-3895" fmla="*/ 2647507 w 3694535"/>
                <a:gd name="connsiteY17-3896" fmla="*/ 2519916 h 4492350"/>
                <a:gd name="connsiteX18-3897" fmla="*/ 2913694 w 3694535"/>
                <a:gd name="connsiteY18-3898" fmla="*/ 1291762 h 4492350"/>
                <a:gd name="connsiteX19-3899" fmla="*/ 2806809 w 3694535"/>
                <a:gd name="connsiteY19-3900" fmla="*/ 2383091 h 4492350"/>
                <a:gd name="connsiteX20-3901" fmla="*/ 3694535 w 3694535"/>
                <a:gd name="connsiteY20-3902" fmla="*/ 1124252 h 4492350"/>
                <a:gd name="connsiteX21-3903" fmla="*/ 2222205 w 3694535"/>
                <a:gd name="connsiteY21-3904" fmla="*/ 3370521 h 4492350"/>
                <a:gd name="connsiteX22-3905" fmla="*/ 2169042 w 3694535"/>
                <a:gd name="connsiteY22-3906" fmla="*/ 3817088 h 4492350"/>
                <a:gd name="connsiteX23-3907" fmla="*/ 3317358 w 3694535"/>
                <a:gd name="connsiteY23-3908" fmla="*/ 3094074 h 4492350"/>
                <a:gd name="connsiteX24-3909" fmla="*/ 2194317 w 3694535"/>
                <a:gd name="connsiteY24-3910" fmla="*/ 4030951 h 4492350"/>
                <a:gd name="connsiteX25-3911" fmla="*/ 2232838 w 3694535"/>
                <a:gd name="connsiteY25-3912" fmla="*/ 4476307 h 4492350"/>
                <a:gd name="connsiteX26-3913" fmla="*/ 2218194 w 3694535"/>
                <a:gd name="connsiteY26-3914" fmla="*/ 4491415 h 4492350"/>
                <a:gd name="connsiteX27-3915" fmla="*/ 1743740 w 3694535"/>
                <a:gd name="connsiteY27-3916" fmla="*/ 4492350 h 4492350"/>
                <a:gd name="connsiteX0-3917" fmla="*/ 1743740 w 3694535"/>
                <a:gd name="connsiteY0-3918" fmla="*/ 4492350 h 4492350"/>
                <a:gd name="connsiteX1-3919" fmla="*/ 1796903 w 3694535"/>
                <a:gd name="connsiteY1-3920" fmla="*/ 3785190 h 4492350"/>
                <a:gd name="connsiteX2-3921" fmla="*/ 1307805 w 3694535"/>
                <a:gd name="connsiteY2-3922" fmla="*/ 3381153 h 4492350"/>
                <a:gd name="connsiteX3-3923" fmla="*/ 31898 w 3694535"/>
                <a:gd name="connsiteY3-3924" fmla="*/ 2945218 h 4492350"/>
                <a:gd name="connsiteX4-3925" fmla="*/ 1127052 w 3694535"/>
                <a:gd name="connsiteY4-3926" fmla="*/ 3242930 h 4492350"/>
                <a:gd name="connsiteX5-3927" fmla="*/ 393405 w 3694535"/>
                <a:gd name="connsiteY5-3928" fmla="*/ 2456121 h 4492350"/>
                <a:gd name="connsiteX6-3929" fmla="*/ 1775638 w 3694535"/>
                <a:gd name="connsiteY6-3930" fmla="*/ 3519376 h 4492350"/>
                <a:gd name="connsiteX7-3931" fmla="*/ 1683956 w 3694535"/>
                <a:gd name="connsiteY7-3932" fmla="*/ 2424409 h 4492350"/>
                <a:gd name="connsiteX8-3933" fmla="*/ 0 w 3694535"/>
                <a:gd name="connsiteY8-3934" fmla="*/ 754911 h 4492350"/>
                <a:gd name="connsiteX9-3935" fmla="*/ 988828 w 3694535"/>
                <a:gd name="connsiteY9-3936" fmla="*/ 1924493 h 4492350"/>
                <a:gd name="connsiteX10-3937" fmla="*/ 1137684 w 3694535"/>
                <a:gd name="connsiteY10-3938" fmla="*/ 861237 h 4492350"/>
                <a:gd name="connsiteX11-3939" fmla="*/ 1222745 w 3694535"/>
                <a:gd name="connsiteY11-3940" fmla="*/ 2062716 h 4492350"/>
                <a:gd name="connsiteX12-3941" fmla="*/ 1714640 w 3694535"/>
                <a:gd name="connsiteY12-3942" fmla="*/ 2194318 h 4492350"/>
                <a:gd name="connsiteX13-3943" fmla="*/ 1956391 w 3694535"/>
                <a:gd name="connsiteY13-3944" fmla="*/ 0 h 4492350"/>
                <a:gd name="connsiteX14-3945" fmla="*/ 2027834 w 3694535"/>
                <a:gd name="connsiteY14-3946" fmla="*/ 986216 h 4492350"/>
                <a:gd name="connsiteX15-3947" fmla="*/ 1881963 w 3694535"/>
                <a:gd name="connsiteY15-3948" fmla="*/ 2060385 h 4492350"/>
                <a:gd name="connsiteX16-3949" fmla="*/ 2057494 w 3694535"/>
                <a:gd name="connsiteY16-3950" fmla="*/ 3046321 h 4492350"/>
                <a:gd name="connsiteX17-3951" fmla="*/ 2647507 w 3694535"/>
                <a:gd name="connsiteY17-3952" fmla="*/ 2519916 h 4492350"/>
                <a:gd name="connsiteX18-3953" fmla="*/ 2913694 w 3694535"/>
                <a:gd name="connsiteY18-3954" fmla="*/ 1291762 h 4492350"/>
                <a:gd name="connsiteX19-3955" fmla="*/ 2806809 w 3694535"/>
                <a:gd name="connsiteY19-3956" fmla="*/ 2383091 h 4492350"/>
                <a:gd name="connsiteX20-3957" fmla="*/ 3694535 w 3694535"/>
                <a:gd name="connsiteY20-3958" fmla="*/ 1124252 h 4492350"/>
                <a:gd name="connsiteX21-3959" fmla="*/ 2222205 w 3694535"/>
                <a:gd name="connsiteY21-3960" fmla="*/ 3370521 h 4492350"/>
                <a:gd name="connsiteX22-3961" fmla="*/ 2169042 w 3694535"/>
                <a:gd name="connsiteY22-3962" fmla="*/ 3817088 h 4492350"/>
                <a:gd name="connsiteX23-3963" fmla="*/ 3317358 w 3694535"/>
                <a:gd name="connsiteY23-3964" fmla="*/ 3094074 h 4492350"/>
                <a:gd name="connsiteX24-3965" fmla="*/ 2194317 w 3694535"/>
                <a:gd name="connsiteY24-3966" fmla="*/ 4030951 h 4492350"/>
                <a:gd name="connsiteX25-3967" fmla="*/ 2232838 w 3694535"/>
                <a:gd name="connsiteY25-3968" fmla="*/ 4476307 h 4492350"/>
                <a:gd name="connsiteX26-3969" fmla="*/ 2218194 w 3694535"/>
                <a:gd name="connsiteY26-3970" fmla="*/ 4491415 h 4492350"/>
                <a:gd name="connsiteX27-3971" fmla="*/ 1743740 w 3694535"/>
                <a:gd name="connsiteY27-3972" fmla="*/ 4492350 h 4492350"/>
                <a:gd name="connsiteX0-3973" fmla="*/ 1743740 w 3694535"/>
                <a:gd name="connsiteY0-3974" fmla="*/ 4492350 h 4492350"/>
                <a:gd name="connsiteX1-3975" fmla="*/ 1796903 w 3694535"/>
                <a:gd name="connsiteY1-3976" fmla="*/ 3785190 h 4492350"/>
                <a:gd name="connsiteX2-3977" fmla="*/ 1307805 w 3694535"/>
                <a:gd name="connsiteY2-3978" fmla="*/ 3381153 h 4492350"/>
                <a:gd name="connsiteX3-3979" fmla="*/ 31898 w 3694535"/>
                <a:gd name="connsiteY3-3980" fmla="*/ 2945218 h 4492350"/>
                <a:gd name="connsiteX4-3981" fmla="*/ 1127052 w 3694535"/>
                <a:gd name="connsiteY4-3982" fmla="*/ 3242930 h 4492350"/>
                <a:gd name="connsiteX5-3983" fmla="*/ 393405 w 3694535"/>
                <a:gd name="connsiteY5-3984" fmla="*/ 2456121 h 4492350"/>
                <a:gd name="connsiteX6-3985" fmla="*/ 1775638 w 3694535"/>
                <a:gd name="connsiteY6-3986" fmla="*/ 3519376 h 4492350"/>
                <a:gd name="connsiteX7-3987" fmla="*/ 1683956 w 3694535"/>
                <a:gd name="connsiteY7-3988" fmla="*/ 2424409 h 4492350"/>
                <a:gd name="connsiteX8-3989" fmla="*/ 0 w 3694535"/>
                <a:gd name="connsiteY8-3990" fmla="*/ 754911 h 4492350"/>
                <a:gd name="connsiteX9-3991" fmla="*/ 988828 w 3694535"/>
                <a:gd name="connsiteY9-3992" fmla="*/ 1924493 h 4492350"/>
                <a:gd name="connsiteX10-3993" fmla="*/ 1137684 w 3694535"/>
                <a:gd name="connsiteY10-3994" fmla="*/ 861237 h 4492350"/>
                <a:gd name="connsiteX11-3995" fmla="*/ 1222745 w 3694535"/>
                <a:gd name="connsiteY11-3996" fmla="*/ 2062716 h 4492350"/>
                <a:gd name="connsiteX12-3997" fmla="*/ 1714640 w 3694535"/>
                <a:gd name="connsiteY12-3998" fmla="*/ 2194318 h 4492350"/>
                <a:gd name="connsiteX13-3999" fmla="*/ 1956391 w 3694535"/>
                <a:gd name="connsiteY13-4000" fmla="*/ 0 h 4492350"/>
                <a:gd name="connsiteX14-4001" fmla="*/ 2027834 w 3694535"/>
                <a:gd name="connsiteY14-4002" fmla="*/ 986216 h 4492350"/>
                <a:gd name="connsiteX15-4003" fmla="*/ 1881963 w 3694535"/>
                <a:gd name="connsiteY15-4004" fmla="*/ 2060385 h 4492350"/>
                <a:gd name="connsiteX16-4005" fmla="*/ 2057494 w 3694535"/>
                <a:gd name="connsiteY16-4006" fmla="*/ 3046321 h 4492350"/>
                <a:gd name="connsiteX17-4007" fmla="*/ 2647507 w 3694535"/>
                <a:gd name="connsiteY17-4008" fmla="*/ 2519916 h 4492350"/>
                <a:gd name="connsiteX18-4009" fmla="*/ 2913694 w 3694535"/>
                <a:gd name="connsiteY18-4010" fmla="*/ 1291762 h 4492350"/>
                <a:gd name="connsiteX19-4011" fmla="*/ 2806809 w 3694535"/>
                <a:gd name="connsiteY19-4012" fmla="*/ 2383091 h 4492350"/>
                <a:gd name="connsiteX20-4013" fmla="*/ 3694535 w 3694535"/>
                <a:gd name="connsiteY20-4014" fmla="*/ 1124252 h 4492350"/>
                <a:gd name="connsiteX21-4015" fmla="*/ 2222205 w 3694535"/>
                <a:gd name="connsiteY21-4016" fmla="*/ 3370521 h 4492350"/>
                <a:gd name="connsiteX22-4017" fmla="*/ 2169042 w 3694535"/>
                <a:gd name="connsiteY22-4018" fmla="*/ 3817088 h 4492350"/>
                <a:gd name="connsiteX23-4019" fmla="*/ 3317358 w 3694535"/>
                <a:gd name="connsiteY23-4020" fmla="*/ 3094074 h 4492350"/>
                <a:gd name="connsiteX24-4021" fmla="*/ 2194317 w 3694535"/>
                <a:gd name="connsiteY24-4022" fmla="*/ 4030951 h 4492350"/>
                <a:gd name="connsiteX25-4023" fmla="*/ 2232838 w 3694535"/>
                <a:gd name="connsiteY25-4024" fmla="*/ 4476307 h 4492350"/>
                <a:gd name="connsiteX26-4025" fmla="*/ 2218194 w 3694535"/>
                <a:gd name="connsiteY26-4026" fmla="*/ 4491415 h 4492350"/>
                <a:gd name="connsiteX27-4027" fmla="*/ 1743740 w 3694535"/>
                <a:gd name="connsiteY27-4028" fmla="*/ 4492350 h 4492350"/>
                <a:gd name="connsiteX0-4029" fmla="*/ 1743740 w 3694535"/>
                <a:gd name="connsiteY0-4030" fmla="*/ 4492350 h 4492350"/>
                <a:gd name="connsiteX1-4031" fmla="*/ 1796903 w 3694535"/>
                <a:gd name="connsiteY1-4032" fmla="*/ 3785190 h 4492350"/>
                <a:gd name="connsiteX2-4033" fmla="*/ 1307805 w 3694535"/>
                <a:gd name="connsiteY2-4034" fmla="*/ 3381153 h 4492350"/>
                <a:gd name="connsiteX3-4035" fmla="*/ 31898 w 3694535"/>
                <a:gd name="connsiteY3-4036" fmla="*/ 2945218 h 4492350"/>
                <a:gd name="connsiteX4-4037" fmla="*/ 1127052 w 3694535"/>
                <a:gd name="connsiteY4-4038" fmla="*/ 3242930 h 4492350"/>
                <a:gd name="connsiteX5-4039" fmla="*/ 393405 w 3694535"/>
                <a:gd name="connsiteY5-4040" fmla="*/ 2456121 h 4492350"/>
                <a:gd name="connsiteX6-4041" fmla="*/ 1775638 w 3694535"/>
                <a:gd name="connsiteY6-4042" fmla="*/ 3519376 h 4492350"/>
                <a:gd name="connsiteX7-4043" fmla="*/ 1683956 w 3694535"/>
                <a:gd name="connsiteY7-4044" fmla="*/ 2424409 h 4492350"/>
                <a:gd name="connsiteX8-4045" fmla="*/ 0 w 3694535"/>
                <a:gd name="connsiteY8-4046" fmla="*/ 754911 h 4492350"/>
                <a:gd name="connsiteX9-4047" fmla="*/ 988828 w 3694535"/>
                <a:gd name="connsiteY9-4048" fmla="*/ 1924493 h 4492350"/>
                <a:gd name="connsiteX10-4049" fmla="*/ 1137684 w 3694535"/>
                <a:gd name="connsiteY10-4050" fmla="*/ 861237 h 4492350"/>
                <a:gd name="connsiteX11-4051" fmla="*/ 1222745 w 3694535"/>
                <a:gd name="connsiteY11-4052" fmla="*/ 2062716 h 4492350"/>
                <a:gd name="connsiteX12-4053" fmla="*/ 1714640 w 3694535"/>
                <a:gd name="connsiteY12-4054" fmla="*/ 2194318 h 4492350"/>
                <a:gd name="connsiteX13-4055" fmla="*/ 1956391 w 3694535"/>
                <a:gd name="connsiteY13-4056" fmla="*/ 0 h 4492350"/>
                <a:gd name="connsiteX14-4057" fmla="*/ 2027834 w 3694535"/>
                <a:gd name="connsiteY14-4058" fmla="*/ 986216 h 4492350"/>
                <a:gd name="connsiteX15-4059" fmla="*/ 1881963 w 3694535"/>
                <a:gd name="connsiteY15-4060" fmla="*/ 2060385 h 4492350"/>
                <a:gd name="connsiteX16-4061" fmla="*/ 2057494 w 3694535"/>
                <a:gd name="connsiteY16-4062" fmla="*/ 3046321 h 4492350"/>
                <a:gd name="connsiteX17-4063" fmla="*/ 2647507 w 3694535"/>
                <a:gd name="connsiteY17-4064" fmla="*/ 2519916 h 4492350"/>
                <a:gd name="connsiteX18-4065" fmla="*/ 2913694 w 3694535"/>
                <a:gd name="connsiteY18-4066" fmla="*/ 1291762 h 4492350"/>
                <a:gd name="connsiteX19-4067" fmla="*/ 2806809 w 3694535"/>
                <a:gd name="connsiteY19-4068" fmla="*/ 2383091 h 4492350"/>
                <a:gd name="connsiteX20-4069" fmla="*/ 3694535 w 3694535"/>
                <a:gd name="connsiteY20-4070" fmla="*/ 1124252 h 4492350"/>
                <a:gd name="connsiteX21-4071" fmla="*/ 2222205 w 3694535"/>
                <a:gd name="connsiteY21-4072" fmla="*/ 3370521 h 4492350"/>
                <a:gd name="connsiteX22-4073" fmla="*/ 2169042 w 3694535"/>
                <a:gd name="connsiteY22-4074" fmla="*/ 3817088 h 4492350"/>
                <a:gd name="connsiteX23-4075" fmla="*/ 3317358 w 3694535"/>
                <a:gd name="connsiteY23-4076" fmla="*/ 3094074 h 4492350"/>
                <a:gd name="connsiteX24-4077" fmla="*/ 2194317 w 3694535"/>
                <a:gd name="connsiteY24-4078" fmla="*/ 4030951 h 4492350"/>
                <a:gd name="connsiteX25-4079" fmla="*/ 2232838 w 3694535"/>
                <a:gd name="connsiteY25-4080" fmla="*/ 4476307 h 4492350"/>
                <a:gd name="connsiteX26-4081" fmla="*/ 2218194 w 3694535"/>
                <a:gd name="connsiteY26-4082" fmla="*/ 4491415 h 4492350"/>
                <a:gd name="connsiteX27-4083" fmla="*/ 1743740 w 3694535"/>
                <a:gd name="connsiteY27-4084" fmla="*/ 4492350 h 4492350"/>
                <a:gd name="connsiteX0-4085" fmla="*/ 1743740 w 3694535"/>
                <a:gd name="connsiteY0-4086" fmla="*/ 4492350 h 4492350"/>
                <a:gd name="connsiteX1-4087" fmla="*/ 1796903 w 3694535"/>
                <a:gd name="connsiteY1-4088" fmla="*/ 3785190 h 4492350"/>
                <a:gd name="connsiteX2-4089" fmla="*/ 1307805 w 3694535"/>
                <a:gd name="connsiteY2-4090" fmla="*/ 3381153 h 4492350"/>
                <a:gd name="connsiteX3-4091" fmla="*/ 31898 w 3694535"/>
                <a:gd name="connsiteY3-4092" fmla="*/ 2945218 h 4492350"/>
                <a:gd name="connsiteX4-4093" fmla="*/ 1127052 w 3694535"/>
                <a:gd name="connsiteY4-4094" fmla="*/ 3242930 h 4492350"/>
                <a:gd name="connsiteX5-4095" fmla="*/ 393405 w 3694535"/>
                <a:gd name="connsiteY5-4096" fmla="*/ 2456121 h 4492350"/>
                <a:gd name="connsiteX6-4097" fmla="*/ 1775638 w 3694535"/>
                <a:gd name="connsiteY6-4098" fmla="*/ 3519376 h 4492350"/>
                <a:gd name="connsiteX7-4099" fmla="*/ 1683956 w 3694535"/>
                <a:gd name="connsiteY7-4100" fmla="*/ 2424409 h 4492350"/>
                <a:gd name="connsiteX8-4101" fmla="*/ 0 w 3694535"/>
                <a:gd name="connsiteY8-4102" fmla="*/ 754911 h 4492350"/>
                <a:gd name="connsiteX9-4103" fmla="*/ 988828 w 3694535"/>
                <a:gd name="connsiteY9-4104" fmla="*/ 1924493 h 4492350"/>
                <a:gd name="connsiteX10-4105" fmla="*/ 1137684 w 3694535"/>
                <a:gd name="connsiteY10-4106" fmla="*/ 861237 h 4492350"/>
                <a:gd name="connsiteX11-4107" fmla="*/ 1222745 w 3694535"/>
                <a:gd name="connsiteY11-4108" fmla="*/ 2062716 h 4492350"/>
                <a:gd name="connsiteX12-4109" fmla="*/ 1714640 w 3694535"/>
                <a:gd name="connsiteY12-4110" fmla="*/ 2194318 h 4492350"/>
                <a:gd name="connsiteX13-4111" fmla="*/ 1956391 w 3694535"/>
                <a:gd name="connsiteY13-4112" fmla="*/ 0 h 4492350"/>
                <a:gd name="connsiteX14-4113" fmla="*/ 2027834 w 3694535"/>
                <a:gd name="connsiteY14-4114" fmla="*/ 986216 h 4492350"/>
                <a:gd name="connsiteX15-4115" fmla="*/ 1881963 w 3694535"/>
                <a:gd name="connsiteY15-4116" fmla="*/ 2060385 h 4492350"/>
                <a:gd name="connsiteX16-4117" fmla="*/ 2057494 w 3694535"/>
                <a:gd name="connsiteY16-4118" fmla="*/ 3046321 h 4492350"/>
                <a:gd name="connsiteX17-4119" fmla="*/ 2647507 w 3694535"/>
                <a:gd name="connsiteY17-4120" fmla="*/ 2519916 h 4492350"/>
                <a:gd name="connsiteX18-4121" fmla="*/ 2913694 w 3694535"/>
                <a:gd name="connsiteY18-4122" fmla="*/ 1291762 h 4492350"/>
                <a:gd name="connsiteX19-4123" fmla="*/ 2806809 w 3694535"/>
                <a:gd name="connsiteY19-4124" fmla="*/ 2383091 h 4492350"/>
                <a:gd name="connsiteX20-4125" fmla="*/ 3694535 w 3694535"/>
                <a:gd name="connsiteY20-4126" fmla="*/ 1124252 h 4492350"/>
                <a:gd name="connsiteX21-4127" fmla="*/ 2222205 w 3694535"/>
                <a:gd name="connsiteY21-4128" fmla="*/ 3370521 h 4492350"/>
                <a:gd name="connsiteX22-4129" fmla="*/ 2169042 w 3694535"/>
                <a:gd name="connsiteY22-4130" fmla="*/ 3817088 h 4492350"/>
                <a:gd name="connsiteX23-4131" fmla="*/ 3317358 w 3694535"/>
                <a:gd name="connsiteY23-4132" fmla="*/ 3094074 h 4492350"/>
                <a:gd name="connsiteX24-4133" fmla="*/ 2194317 w 3694535"/>
                <a:gd name="connsiteY24-4134" fmla="*/ 4030951 h 4492350"/>
                <a:gd name="connsiteX25-4135" fmla="*/ 2232838 w 3694535"/>
                <a:gd name="connsiteY25-4136" fmla="*/ 4476307 h 4492350"/>
                <a:gd name="connsiteX26-4137" fmla="*/ 2218194 w 3694535"/>
                <a:gd name="connsiteY26-4138" fmla="*/ 4491415 h 4492350"/>
                <a:gd name="connsiteX27-4139" fmla="*/ 1743740 w 3694535"/>
                <a:gd name="connsiteY27-4140" fmla="*/ 4492350 h 4492350"/>
                <a:gd name="connsiteX0-4141" fmla="*/ 1743740 w 3694535"/>
                <a:gd name="connsiteY0-4142" fmla="*/ 4492350 h 4492350"/>
                <a:gd name="connsiteX1-4143" fmla="*/ 1796903 w 3694535"/>
                <a:gd name="connsiteY1-4144" fmla="*/ 3785190 h 4492350"/>
                <a:gd name="connsiteX2-4145" fmla="*/ 1307805 w 3694535"/>
                <a:gd name="connsiteY2-4146" fmla="*/ 3381153 h 4492350"/>
                <a:gd name="connsiteX3-4147" fmla="*/ 31898 w 3694535"/>
                <a:gd name="connsiteY3-4148" fmla="*/ 2945218 h 4492350"/>
                <a:gd name="connsiteX4-4149" fmla="*/ 1127052 w 3694535"/>
                <a:gd name="connsiteY4-4150" fmla="*/ 3242930 h 4492350"/>
                <a:gd name="connsiteX5-4151" fmla="*/ 393405 w 3694535"/>
                <a:gd name="connsiteY5-4152" fmla="*/ 2456121 h 4492350"/>
                <a:gd name="connsiteX6-4153" fmla="*/ 1775638 w 3694535"/>
                <a:gd name="connsiteY6-4154" fmla="*/ 3519376 h 4492350"/>
                <a:gd name="connsiteX7-4155" fmla="*/ 1683956 w 3694535"/>
                <a:gd name="connsiteY7-4156" fmla="*/ 2424409 h 4492350"/>
                <a:gd name="connsiteX8-4157" fmla="*/ 0 w 3694535"/>
                <a:gd name="connsiteY8-4158" fmla="*/ 754911 h 4492350"/>
                <a:gd name="connsiteX9-4159" fmla="*/ 988828 w 3694535"/>
                <a:gd name="connsiteY9-4160" fmla="*/ 1924493 h 4492350"/>
                <a:gd name="connsiteX10-4161" fmla="*/ 1137684 w 3694535"/>
                <a:gd name="connsiteY10-4162" fmla="*/ 861237 h 4492350"/>
                <a:gd name="connsiteX11-4163" fmla="*/ 1222745 w 3694535"/>
                <a:gd name="connsiteY11-4164" fmla="*/ 2062716 h 4492350"/>
                <a:gd name="connsiteX12-4165" fmla="*/ 1714640 w 3694535"/>
                <a:gd name="connsiteY12-4166" fmla="*/ 2194318 h 4492350"/>
                <a:gd name="connsiteX13-4167" fmla="*/ 1956391 w 3694535"/>
                <a:gd name="connsiteY13-4168" fmla="*/ 0 h 4492350"/>
                <a:gd name="connsiteX14-4169" fmla="*/ 2027834 w 3694535"/>
                <a:gd name="connsiteY14-4170" fmla="*/ 986216 h 4492350"/>
                <a:gd name="connsiteX15-4171" fmla="*/ 1881963 w 3694535"/>
                <a:gd name="connsiteY15-4172" fmla="*/ 2060385 h 4492350"/>
                <a:gd name="connsiteX16-4173" fmla="*/ 2057494 w 3694535"/>
                <a:gd name="connsiteY16-4174" fmla="*/ 3046321 h 4492350"/>
                <a:gd name="connsiteX17-4175" fmla="*/ 2647507 w 3694535"/>
                <a:gd name="connsiteY17-4176" fmla="*/ 2519916 h 4492350"/>
                <a:gd name="connsiteX18-4177" fmla="*/ 2913694 w 3694535"/>
                <a:gd name="connsiteY18-4178" fmla="*/ 1291762 h 4492350"/>
                <a:gd name="connsiteX19-4179" fmla="*/ 2806809 w 3694535"/>
                <a:gd name="connsiteY19-4180" fmla="*/ 2383091 h 4492350"/>
                <a:gd name="connsiteX20-4181" fmla="*/ 3694535 w 3694535"/>
                <a:gd name="connsiteY20-4182" fmla="*/ 1124252 h 4492350"/>
                <a:gd name="connsiteX21-4183" fmla="*/ 2222205 w 3694535"/>
                <a:gd name="connsiteY21-4184" fmla="*/ 3370521 h 4492350"/>
                <a:gd name="connsiteX22-4185" fmla="*/ 2169042 w 3694535"/>
                <a:gd name="connsiteY22-4186" fmla="*/ 3817088 h 4492350"/>
                <a:gd name="connsiteX23-4187" fmla="*/ 3317358 w 3694535"/>
                <a:gd name="connsiteY23-4188" fmla="*/ 3094074 h 4492350"/>
                <a:gd name="connsiteX24-4189" fmla="*/ 2194317 w 3694535"/>
                <a:gd name="connsiteY24-4190" fmla="*/ 4030951 h 4492350"/>
                <a:gd name="connsiteX25-4191" fmla="*/ 2232838 w 3694535"/>
                <a:gd name="connsiteY25-4192" fmla="*/ 4476307 h 4492350"/>
                <a:gd name="connsiteX26-4193" fmla="*/ 2218194 w 3694535"/>
                <a:gd name="connsiteY26-4194" fmla="*/ 4491415 h 4492350"/>
                <a:gd name="connsiteX27-4195" fmla="*/ 1743740 w 3694535"/>
                <a:gd name="connsiteY27-4196" fmla="*/ 4492350 h 4492350"/>
                <a:gd name="connsiteX0-4197" fmla="*/ 1743740 w 3694535"/>
                <a:gd name="connsiteY0-4198" fmla="*/ 4492350 h 4492350"/>
                <a:gd name="connsiteX1-4199" fmla="*/ 1796903 w 3694535"/>
                <a:gd name="connsiteY1-4200" fmla="*/ 3785190 h 4492350"/>
                <a:gd name="connsiteX2-4201" fmla="*/ 1307805 w 3694535"/>
                <a:gd name="connsiteY2-4202" fmla="*/ 3381153 h 4492350"/>
                <a:gd name="connsiteX3-4203" fmla="*/ 31898 w 3694535"/>
                <a:gd name="connsiteY3-4204" fmla="*/ 2945218 h 4492350"/>
                <a:gd name="connsiteX4-4205" fmla="*/ 1127052 w 3694535"/>
                <a:gd name="connsiteY4-4206" fmla="*/ 3242930 h 4492350"/>
                <a:gd name="connsiteX5-4207" fmla="*/ 393405 w 3694535"/>
                <a:gd name="connsiteY5-4208" fmla="*/ 2456121 h 4492350"/>
                <a:gd name="connsiteX6-4209" fmla="*/ 1775638 w 3694535"/>
                <a:gd name="connsiteY6-4210" fmla="*/ 3519376 h 4492350"/>
                <a:gd name="connsiteX7-4211" fmla="*/ 1683956 w 3694535"/>
                <a:gd name="connsiteY7-4212" fmla="*/ 2424409 h 4492350"/>
                <a:gd name="connsiteX8-4213" fmla="*/ 0 w 3694535"/>
                <a:gd name="connsiteY8-4214" fmla="*/ 754911 h 4492350"/>
                <a:gd name="connsiteX9-4215" fmla="*/ 988828 w 3694535"/>
                <a:gd name="connsiteY9-4216" fmla="*/ 1924493 h 4492350"/>
                <a:gd name="connsiteX10-4217" fmla="*/ 1137684 w 3694535"/>
                <a:gd name="connsiteY10-4218" fmla="*/ 861237 h 4492350"/>
                <a:gd name="connsiteX11-4219" fmla="*/ 1222745 w 3694535"/>
                <a:gd name="connsiteY11-4220" fmla="*/ 2062716 h 4492350"/>
                <a:gd name="connsiteX12-4221" fmla="*/ 1714640 w 3694535"/>
                <a:gd name="connsiteY12-4222" fmla="*/ 2194318 h 4492350"/>
                <a:gd name="connsiteX13-4223" fmla="*/ 1956391 w 3694535"/>
                <a:gd name="connsiteY13-4224" fmla="*/ 0 h 4492350"/>
                <a:gd name="connsiteX14-4225" fmla="*/ 2027834 w 3694535"/>
                <a:gd name="connsiteY14-4226" fmla="*/ 986216 h 4492350"/>
                <a:gd name="connsiteX15-4227" fmla="*/ 1881963 w 3694535"/>
                <a:gd name="connsiteY15-4228" fmla="*/ 2060385 h 4492350"/>
                <a:gd name="connsiteX16-4229" fmla="*/ 2057494 w 3694535"/>
                <a:gd name="connsiteY16-4230" fmla="*/ 3046321 h 4492350"/>
                <a:gd name="connsiteX17-4231" fmla="*/ 2647507 w 3694535"/>
                <a:gd name="connsiteY17-4232" fmla="*/ 2519916 h 4492350"/>
                <a:gd name="connsiteX18-4233" fmla="*/ 2913694 w 3694535"/>
                <a:gd name="connsiteY18-4234" fmla="*/ 1291762 h 4492350"/>
                <a:gd name="connsiteX19-4235" fmla="*/ 2806809 w 3694535"/>
                <a:gd name="connsiteY19-4236" fmla="*/ 2383091 h 4492350"/>
                <a:gd name="connsiteX20-4237" fmla="*/ 3694535 w 3694535"/>
                <a:gd name="connsiteY20-4238" fmla="*/ 1124252 h 4492350"/>
                <a:gd name="connsiteX21-4239" fmla="*/ 2222205 w 3694535"/>
                <a:gd name="connsiteY21-4240" fmla="*/ 3370521 h 4492350"/>
                <a:gd name="connsiteX22-4241" fmla="*/ 2169042 w 3694535"/>
                <a:gd name="connsiteY22-4242" fmla="*/ 3817088 h 4492350"/>
                <a:gd name="connsiteX23-4243" fmla="*/ 3317358 w 3694535"/>
                <a:gd name="connsiteY23-4244" fmla="*/ 3094074 h 4492350"/>
                <a:gd name="connsiteX24-4245" fmla="*/ 2194317 w 3694535"/>
                <a:gd name="connsiteY24-4246" fmla="*/ 4030951 h 4492350"/>
                <a:gd name="connsiteX25-4247" fmla="*/ 2232838 w 3694535"/>
                <a:gd name="connsiteY25-4248" fmla="*/ 4476307 h 4492350"/>
                <a:gd name="connsiteX26-4249" fmla="*/ 2218194 w 3694535"/>
                <a:gd name="connsiteY26-4250" fmla="*/ 4491415 h 4492350"/>
                <a:gd name="connsiteX27-4251" fmla="*/ 1743740 w 3694535"/>
                <a:gd name="connsiteY27-4252" fmla="*/ 4492350 h 4492350"/>
                <a:gd name="connsiteX0-4253" fmla="*/ 1743740 w 3694535"/>
                <a:gd name="connsiteY0-4254" fmla="*/ 4492350 h 4492350"/>
                <a:gd name="connsiteX1-4255" fmla="*/ 1796903 w 3694535"/>
                <a:gd name="connsiteY1-4256" fmla="*/ 3785190 h 4492350"/>
                <a:gd name="connsiteX2-4257" fmla="*/ 1307805 w 3694535"/>
                <a:gd name="connsiteY2-4258" fmla="*/ 3381153 h 4492350"/>
                <a:gd name="connsiteX3-4259" fmla="*/ 31898 w 3694535"/>
                <a:gd name="connsiteY3-4260" fmla="*/ 2945218 h 4492350"/>
                <a:gd name="connsiteX4-4261" fmla="*/ 1127052 w 3694535"/>
                <a:gd name="connsiteY4-4262" fmla="*/ 3242930 h 4492350"/>
                <a:gd name="connsiteX5-4263" fmla="*/ 393405 w 3694535"/>
                <a:gd name="connsiteY5-4264" fmla="*/ 2456121 h 4492350"/>
                <a:gd name="connsiteX6-4265" fmla="*/ 1775638 w 3694535"/>
                <a:gd name="connsiteY6-4266" fmla="*/ 3519376 h 4492350"/>
                <a:gd name="connsiteX7-4267" fmla="*/ 1683956 w 3694535"/>
                <a:gd name="connsiteY7-4268" fmla="*/ 2424409 h 4492350"/>
                <a:gd name="connsiteX8-4269" fmla="*/ 0 w 3694535"/>
                <a:gd name="connsiteY8-4270" fmla="*/ 754911 h 4492350"/>
                <a:gd name="connsiteX9-4271" fmla="*/ 988828 w 3694535"/>
                <a:gd name="connsiteY9-4272" fmla="*/ 1924493 h 4492350"/>
                <a:gd name="connsiteX10-4273" fmla="*/ 1137684 w 3694535"/>
                <a:gd name="connsiteY10-4274" fmla="*/ 861237 h 4492350"/>
                <a:gd name="connsiteX11-4275" fmla="*/ 1222745 w 3694535"/>
                <a:gd name="connsiteY11-4276" fmla="*/ 2062716 h 4492350"/>
                <a:gd name="connsiteX12-4277" fmla="*/ 1714640 w 3694535"/>
                <a:gd name="connsiteY12-4278" fmla="*/ 2194318 h 4492350"/>
                <a:gd name="connsiteX13-4279" fmla="*/ 1956391 w 3694535"/>
                <a:gd name="connsiteY13-4280" fmla="*/ 0 h 4492350"/>
                <a:gd name="connsiteX14-4281" fmla="*/ 2027834 w 3694535"/>
                <a:gd name="connsiteY14-4282" fmla="*/ 986216 h 4492350"/>
                <a:gd name="connsiteX15-4283" fmla="*/ 1881963 w 3694535"/>
                <a:gd name="connsiteY15-4284" fmla="*/ 2060385 h 4492350"/>
                <a:gd name="connsiteX16-4285" fmla="*/ 2057494 w 3694535"/>
                <a:gd name="connsiteY16-4286" fmla="*/ 3046321 h 4492350"/>
                <a:gd name="connsiteX17-4287" fmla="*/ 2647507 w 3694535"/>
                <a:gd name="connsiteY17-4288" fmla="*/ 2519916 h 4492350"/>
                <a:gd name="connsiteX18-4289" fmla="*/ 2913694 w 3694535"/>
                <a:gd name="connsiteY18-4290" fmla="*/ 1291762 h 4492350"/>
                <a:gd name="connsiteX19-4291" fmla="*/ 2806809 w 3694535"/>
                <a:gd name="connsiteY19-4292" fmla="*/ 2383091 h 4492350"/>
                <a:gd name="connsiteX20-4293" fmla="*/ 3694535 w 3694535"/>
                <a:gd name="connsiteY20-4294" fmla="*/ 1124252 h 4492350"/>
                <a:gd name="connsiteX21-4295" fmla="*/ 2222205 w 3694535"/>
                <a:gd name="connsiteY21-4296" fmla="*/ 3370521 h 4492350"/>
                <a:gd name="connsiteX22-4297" fmla="*/ 2169042 w 3694535"/>
                <a:gd name="connsiteY22-4298" fmla="*/ 3817088 h 4492350"/>
                <a:gd name="connsiteX23-4299" fmla="*/ 3317358 w 3694535"/>
                <a:gd name="connsiteY23-4300" fmla="*/ 3094074 h 4492350"/>
                <a:gd name="connsiteX24-4301" fmla="*/ 2194317 w 3694535"/>
                <a:gd name="connsiteY24-4302" fmla="*/ 4030951 h 4492350"/>
                <a:gd name="connsiteX25-4303" fmla="*/ 2232838 w 3694535"/>
                <a:gd name="connsiteY25-4304" fmla="*/ 4476307 h 4492350"/>
                <a:gd name="connsiteX26-4305" fmla="*/ 2218194 w 3694535"/>
                <a:gd name="connsiteY26-4306" fmla="*/ 4491415 h 4492350"/>
                <a:gd name="connsiteX27-4307" fmla="*/ 1743740 w 3694535"/>
                <a:gd name="connsiteY27-4308" fmla="*/ 4492350 h 4492350"/>
                <a:gd name="connsiteX0-4309" fmla="*/ 1743740 w 3694535"/>
                <a:gd name="connsiteY0-4310" fmla="*/ 4492350 h 4492350"/>
                <a:gd name="connsiteX1-4311" fmla="*/ 1796903 w 3694535"/>
                <a:gd name="connsiteY1-4312" fmla="*/ 3785190 h 4492350"/>
                <a:gd name="connsiteX2-4313" fmla="*/ 1307805 w 3694535"/>
                <a:gd name="connsiteY2-4314" fmla="*/ 3381153 h 4492350"/>
                <a:gd name="connsiteX3-4315" fmla="*/ 31898 w 3694535"/>
                <a:gd name="connsiteY3-4316" fmla="*/ 2945218 h 4492350"/>
                <a:gd name="connsiteX4-4317" fmla="*/ 1127052 w 3694535"/>
                <a:gd name="connsiteY4-4318" fmla="*/ 3242930 h 4492350"/>
                <a:gd name="connsiteX5-4319" fmla="*/ 393405 w 3694535"/>
                <a:gd name="connsiteY5-4320" fmla="*/ 2456121 h 4492350"/>
                <a:gd name="connsiteX6-4321" fmla="*/ 1775638 w 3694535"/>
                <a:gd name="connsiteY6-4322" fmla="*/ 3519376 h 4492350"/>
                <a:gd name="connsiteX7-4323" fmla="*/ 1683956 w 3694535"/>
                <a:gd name="connsiteY7-4324" fmla="*/ 2424409 h 4492350"/>
                <a:gd name="connsiteX8-4325" fmla="*/ 0 w 3694535"/>
                <a:gd name="connsiteY8-4326" fmla="*/ 754911 h 4492350"/>
                <a:gd name="connsiteX9-4327" fmla="*/ 988828 w 3694535"/>
                <a:gd name="connsiteY9-4328" fmla="*/ 1924493 h 4492350"/>
                <a:gd name="connsiteX10-4329" fmla="*/ 1137684 w 3694535"/>
                <a:gd name="connsiteY10-4330" fmla="*/ 861237 h 4492350"/>
                <a:gd name="connsiteX11-4331" fmla="*/ 1222745 w 3694535"/>
                <a:gd name="connsiteY11-4332" fmla="*/ 2062716 h 4492350"/>
                <a:gd name="connsiteX12-4333" fmla="*/ 1714640 w 3694535"/>
                <a:gd name="connsiteY12-4334" fmla="*/ 2194318 h 4492350"/>
                <a:gd name="connsiteX13-4335" fmla="*/ 1956391 w 3694535"/>
                <a:gd name="connsiteY13-4336" fmla="*/ 0 h 4492350"/>
                <a:gd name="connsiteX14-4337" fmla="*/ 2027834 w 3694535"/>
                <a:gd name="connsiteY14-4338" fmla="*/ 986216 h 4492350"/>
                <a:gd name="connsiteX15-4339" fmla="*/ 1881963 w 3694535"/>
                <a:gd name="connsiteY15-4340" fmla="*/ 2060385 h 4492350"/>
                <a:gd name="connsiteX16-4341" fmla="*/ 2057494 w 3694535"/>
                <a:gd name="connsiteY16-4342" fmla="*/ 3046321 h 4492350"/>
                <a:gd name="connsiteX17-4343" fmla="*/ 2647507 w 3694535"/>
                <a:gd name="connsiteY17-4344" fmla="*/ 2519916 h 4492350"/>
                <a:gd name="connsiteX18-4345" fmla="*/ 2913694 w 3694535"/>
                <a:gd name="connsiteY18-4346" fmla="*/ 1291762 h 4492350"/>
                <a:gd name="connsiteX19-4347" fmla="*/ 2806809 w 3694535"/>
                <a:gd name="connsiteY19-4348" fmla="*/ 2383091 h 4492350"/>
                <a:gd name="connsiteX20-4349" fmla="*/ 3694535 w 3694535"/>
                <a:gd name="connsiteY20-4350" fmla="*/ 1124252 h 4492350"/>
                <a:gd name="connsiteX21-4351" fmla="*/ 2222205 w 3694535"/>
                <a:gd name="connsiteY21-4352" fmla="*/ 3370521 h 4492350"/>
                <a:gd name="connsiteX22-4353" fmla="*/ 2169042 w 3694535"/>
                <a:gd name="connsiteY22-4354" fmla="*/ 3817088 h 4492350"/>
                <a:gd name="connsiteX23-4355" fmla="*/ 3317358 w 3694535"/>
                <a:gd name="connsiteY23-4356" fmla="*/ 3094074 h 4492350"/>
                <a:gd name="connsiteX24-4357" fmla="*/ 2194317 w 3694535"/>
                <a:gd name="connsiteY24-4358" fmla="*/ 4030951 h 4492350"/>
                <a:gd name="connsiteX25-4359" fmla="*/ 2232838 w 3694535"/>
                <a:gd name="connsiteY25-4360" fmla="*/ 4476307 h 4492350"/>
                <a:gd name="connsiteX26-4361" fmla="*/ 2218194 w 3694535"/>
                <a:gd name="connsiteY26-4362" fmla="*/ 4491415 h 4492350"/>
                <a:gd name="connsiteX27-4363" fmla="*/ 1743740 w 3694535"/>
                <a:gd name="connsiteY27-4364" fmla="*/ 4492350 h 4492350"/>
                <a:gd name="connsiteX0-4365" fmla="*/ 1743740 w 3694535"/>
                <a:gd name="connsiteY0-4366" fmla="*/ 4492350 h 4492350"/>
                <a:gd name="connsiteX1-4367" fmla="*/ 1796903 w 3694535"/>
                <a:gd name="connsiteY1-4368" fmla="*/ 3785190 h 4492350"/>
                <a:gd name="connsiteX2-4369" fmla="*/ 1307805 w 3694535"/>
                <a:gd name="connsiteY2-4370" fmla="*/ 3381153 h 4492350"/>
                <a:gd name="connsiteX3-4371" fmla="*/ 31898 w 3694535"/>
                <a:gd name="connsiteY3-4372" fmla="*/ 2945218 h 4492350"/>
                <a:gd name="connsiteX4-4373" fmla="*/ 1127052 w 3694535"/>
                <a:gd name="connsiteY4-4374" fmla="*/ 3242930 h 4492350"/>
                <a:gd name="connsiteX5-4375" fmla="*/ 393405 w 3694535"/>
                <a:gd name="connsiteY5-4376" fmla="*/ 2456121 h 4492350"/>
                <a:gd name="connsiteX6-4377" fmla="*/ 1775638 w 3694535"/>
                <a:gd name="connsiteY6-4378" fmla="*/ 3519376 h 4492350"/>
                <a:gd name="connsiteX7-4379" fmla="*/ 1683956 w 3694535"/>
                <a:gd name="connsiteY7-4380" fmla="*/ 2424409 h 4492350"/>
                <a:gd name="connsiteX8-4381" fmla="*/ 0 w 3694535"/>
                <a:gd name="connsiteY8-4382" fmla="*/ 754911 h 4492350"/>
                <a:gd name="connsiteX9-4383" fmla="*/ 988828 w 3694535"/>
                <a:gd name="connsiteY9-4384" fmla="*/ 1924493 h 4492350"/>
                <a:gd name="connsiteX10-4385" fmla="*/ 1137684 w 3694535"/>
                <a:gd name="connsiteY10-4386" fmla="*/ 861237 h 4492350"/>
                <a:gd name="connsiteX11-4387" fmla="*/ 1194671 w 3694535"/>
                <a:gd name="connsiteY11-4388" fmla="*/ 2026621 h 4492350"/>
                <a:gd name="connsiteX12-4389" fmla="*/ 1714640 w 3694535"/>
                <a:gd name="connsiteY12-4390" fmla="*/ 2194318 h 4492350"/>
                <a:gd name="connsiteX13-4391" fmla="*/ 1956391 w 3694535"/>
                <a:gd name="connsiteY13-4392" fmla="*/ 0 h 4492350"/>
                <a:gd name="connsiteX14-4393" fmla="*/ 2027834 w 3694535"/>
                <a:gd name="connsiteY14-4394" fmla="*/ 986216 h 4492350"/>
                <a:gd name="connsiteX15-4395" fmla="*/ 1881963 w 3694535"/>
                <a:gd name="connsiteY15-4396" fmla="*/ 2060385 h 4492350"/>
                <a:gd name="connsiteX16-4397" fmla="*/ 2057494 w 3694535"/>
                <a:gd name="connsiteY16-4398" fmla="*/ 3046321 h 4492350"/>
                <a:gd name="connsiteX17-4399" fmla="*/ 2647507 w 3694535"/>
                <a:gd name="connsiteY17-4400" fmla="*/ 2519916 h 4492350"/>
                <a:gd name="connsiteX18-4401" fmla="*/ 2913694 w 3694535"/>
                <a:gd name="connsiteY18-4402" fmla="*/ 1291762 h 4492350"/>
                <a:gd name="connsiteX19-4403" fmla="*/ 2806809 w 3694535"/>
                <a:gd name="connsiteY19-4404" fmla="*/ 2383091 h 4492350"/>
                <a:gd name="connsiteX20-4405" fmla="*/ 3694535 w 3694535"/>
                <a:gd name="connsiteY20-4406" fmla="*/ 1124252 h 4492350"/>
                <a:gd name="connsiteX21-4407" fmla="*/ 2222205 w 3694535"/>
                <a:gd name="connsiteY21-4408" fmla="*/ 3370521 h 4492350"/>
                <a:gd name="connsiteX22-4409" fmla="*/ 2169042 w 3694535"/>
                <a:gd name="connsiteY22-4410" fmla="*/ 3817088 h 4492350"/>
                <a:gd name="connsiteX23-4411" fmla="*/ 3317358 w 3694535"/>
                <a:gd name="connsiteY23-4412" fmla="*/ 3094074 h 4492350"/>
                <a:gd name="connsiteX24-4413" fmla="*/ 2194317 w 3694535"/>
                <a:gd name="connsiteY24-4414" fmla="*/ 4030951 h 4492350"/>
                <a:gd name="connsiteX25-4415" fmla="*/ 2232838 w 3694535"/>
                <a:gd name="connsiteY25-4416" fmla="*/ 4476307 h 4492350"/>
                <a:gd name="connsiteX26-4417" fmla="*/ 2218194 w 3694535"/>
                <a:gd name="connsiteY26-4418" fmla="*/ 4491415 h 4492350"/>
                <a:gd name="connsiteX27-4419" fmla="*/ 1743740 w 3694535"/>
                <a:gd name="connsiteY27-4420" fmla="*/ 4492350 h 4492350"/>
                <a:gd name="connsiteX0-4421" fmla="*/ 1743740 w 3694535"/>
                <a:gd name="connsiteY0-4422" fmla="*/ 4492350 h 4492350"/>
                <a:gd name="connsiteX1-4423" fmla="*/ 1796903 w 3694535"/>
                <a:gd name="connsiteY1-4424" fmla="*/ 3785190 h 4492350"/>
                <a:gd name="connsiteX2-4425" fmla="*/ 1307805 w 3694535"/>
                <a:gd name="connsiteY2-4426" fmla="*/ 3381153 h 4492350"/>
                <a:gd name="connsiteX3-4427" fmla="*/ 31898 w 3694535"/>
                <a:gd name="connsiteY3-4428" fmla="*/ 2945218 h 4492350"/>
                <a:gd name="connsiteX4-4429" fmla="*/ 1127052 w 3694535"/>
                <a:gd name="connsiteY4-4430" fmla="*/ 3242930 h 4492350"/>
                <a:gd name="connsiteX5-4431" fmla="*/ 393405 w 3694535"/>
                <a:gd name="connsiteY5-4432" fmla="*/ 2456121 h 4492350"/>
                <a:gd name="connsiteX6-4433" fmla="*/ 1775638 w 3694535"/>
                <a:gd name="connsiteY6-4434" fmla="*/ 3519376 h 4492350"/>
                <a:gd name="connsiteX7-4435" fmla="*/ 1683956 w 3694535"/>
                <a:gd name="connsiteY7-4436" fmla="*/ 2424409 h 4492350"/>
                <a:gd name="connsiteX8-4437" fmla="*/ 0 w 3694535"/>
                <a:gd name="connsiteY8-4438" fmla="*/ 754911 h 4492350"/>
                <a:gd name="connsiteX9-4439" fmla="*/ 988828 w 3694535"/>
                <a:gd name="connsiteY9-4440" fmla="*/ 1924493 h 4492350"/>
                <a:gd name="connsiteX10-4441" fmla="*/ 1137684 w 3694535"/>
                <a:gd name="connsiteY10-4442" fmla="*/ 861237 h 4492350"/>
                <a:gd name="connsiteX11-4443" fmla="*/ 1194671 w 3694535"/>
                <a:gd name="connsiteY11-4444" fmla="*/ 2026621 h 4492350"/>
                <a:gd name="connsiteX12-4445" fmla="*/ 1714640 w 3694535"/>
                <a:gd name="connsiteY12-4446" fmla="*/ 2194318 h 4492350"/>
                <a:gd name="connsiteX13-4447" fmla="*/ 1956391 w 3694535"/>
                <a:gd name="connsiteY13-4448" fmla="*/ 0 h 4492350"/>
                <a:gd name="connsiteX14-4449" fmla="*/ 2027834 w 3694535"/>
                <a:gd name="connsiteY14-4450" fmla="*/ 986216 h 4492350"/>
                <a:gd name="connsiteX15-4451" fmla="*/ 1881963 w 3694535"/>
                <a:gd name="connsiteY15-4452" fmla="*/ 2060385 h 4492350"/>
                <a:gd name="connsiteX16-4453" fmla="*/ 2057494 w 3694535"/>
                <a:gd name="connsiteY16-4454" fmla="*/ 3046321 h 4492350"/>
                <a:gd name="connsiteX17-4455" fmla="*/ 2647507 w 3694535"/>
                <a:gd name="connsiteY17-4456" fmla="*/ 2519916 h 4492350"/>
                <a:gd name="connsiteX18-4457" fmla="*/ 2913694 w 3694535"/>
                <a:gd name="connsiteY18-4458" fmla="*/ 1291762 h 4492350"/>
                <a:gd name="connsiteX19-4459" fmla="*/ 2806809 w 3694535"/>
                <a:gd name="connsiteY19-4460" fmla="*/ 2383091 h 4492350"/>
                <a:gd name="connsiteX20-4461" fmla="*/ 3694535 w 3694535"/>
                <a:gd name="connsiteY20-4462" fmla="*/ 1124252 h 4492350"/>
                <a:gd name="connsiteX21-4463" fmla="*/ 2222205 w 3694535"/>
                <a:gd name="connsiteY21-4464" fmla="*/ 3370521 h 4492350"/>
                <a:gd name="connsiteX22-4465" fmla="*/ 2169042 w 3694535"/>
                <a:gd name="connsiteY22-4466" fmla="*/ 3817088 h 4492350"/>
                <a:gd name="connsiteX23-4467" fmla="*/ 3317358 w 3694535"/>
                <a:gd name="connsiteY23-4468" fmla="*/ 3094074 h 4492350"/>
                <a:gd name="connsiteX24-4469" fmla="*/ 2194317 w 3694535"/>
                <a:gd name="connsiteY24-4470" fmla="*/ 4030951 h 4492350"/>
                <a:gd name="connsiteX25-4471" fmla="*/ 2232838 w 3694535"/>
                <a:gd name="connsiteY25-4472" fmla="*/ 4476307 h 4492350"/>
                <a:gd name="connsiteX26-4473" fmla="*/ 2218194 w 3694535"/>
                <a:gd name="connsiteY26-4474" fmla="*/ 4491415 h 4492350"/>
                <a:gd name="connsiteX27-4475" fmla="*/ 1743740 w 3694535"/>
                <a:gd name="connsiteY27-4476" fmla="*/ 4492350 h 4492350"/>
                <a:gd name="connsiteX0-4477" fmla="*/ 1743740 w 3694535"/>
                <a:gd name="connsiteY0-4478" fmla="*/ 4492350 h 4492350"/>
                <a:gd name="connsiteX1-4479" fmla="*/ 1796903 w 3694535"/>
                <a:gd name="connsiteY1-4480" fmla="*/ 3785190 h 4492350"/>
                <a:gd name="connsiteX2-4481" fmla="*/ 1307805 w 3694535"/>
                <a:gd name="connsiteY2-4482" fmla="*/ 3381153 h 4492350"/>
                <a:gd name="connsiteX3-4483" fmla="*/ 31898 w 3694535"/>
                <a:gd name="connsiteY3-4484" fmla="*/ 2945218 h 4492350"/>
                <a:gd name="connsiteX4-4485" fmla="*/ 1127052 w 3694535"/>
                <a:gd name="connsiteY4-4486" fmla="*/ 3242930 h 4492350"/>
                <a:gd name="connsiteX5-4487" fmla="*/ 393405 w 3694535"/>
                <a:gd name="connsiteY5-4488" fmla="*/ 2456121 h 4492350"/>
                <a:gd name="connsiteX6-4489" fmla="*/ 1775638 w 3694535"/>
                <a:gd name="connsiteY6-4490" fmla="*/ 3519376 h 4492350"/>
                <a:gd name="connsiteX7-4491" fmla="*/ 1683956 w 3694535"/>
                <a:gd name="connsiteY7-4492" fmla="*/ 2424409 h 4492350"/>
                <a:gd name="connsiteX8-4493" fmla="*/ 0 w 3694535"/>
                <a:gd name="connsiteY8-4494" fmla="*/ 754911 h 4492350"/>
                <a:gd name="connsiteX9-4495" fmla="*/ 988828 w 3694535"/>
                <a:gd name="connsiteY9-4496" fmla="*/ 1924493 h 4492350"/>
                <a:gd name="connsiteX10-4497" fmla="*/ 1137684 w 3694535"/>
                <a:gd name="connsiteY10-4498" fmla="*/ 861237 h 4492350"/>
                <a:gd name="connsiteX11-4499" fmla="*/ 1194671 w 3694535"/>
                <a:gd name="connsiteY11-4500" fmla="*/ 2026621 h 4492350"/>
                <a:gd name="connsiteX12-4501" fmla="*/ 1714640 w 3694535"/>
                <a:gd name="connsiteY12-4502" fmla="*/ 2194318 h 4492350"/>
                <a:gd name="connsiteX13-4503" fmla="*/ 1956391 w 3694535"/>
                <a:gd name="connsiteY13-4504" fmla="*/ 0 h 4492350"/>
                <a:gd name="connsiteX14-4505" fmla="*/ 2027834 w 3694535"/>
                <a:gd name="connsiteY14-4506" fmla="*/ 986216 h 4492350"/>
                <a:gd name="connsiteX15-4507" fmla="*/ 1881963 w 3694535"/>
                <a:gd name="connsiteY15-4508" fmla="*/ 2060385 h 4492350"/>
                <a:gd name="connsiteX16-4509" fmla="*/ 2057494 w 3694535"/>
                <a:gd name="connsiteY16-4510" fmla="*/ 3046321 h 4492350"/>
                <a:gd name="connsiteX17-4511" fmla="*/ 2647507 w 3694535"/>
                <a:gd name="connsiteY17-4512" fmla="*/ 2519916 h 4492350"/>
                <a:gd name="connsiteX18-4513" fmla="*/ 2913694 w 3694535"/>
                <a:gd name="connsiteY18-4514" fmla="*/ 1291762 h 4492350"/>
                <a:gd name="connsiteX19-4515" fmla="*/ 2806809 w 3694535"/>
                <a:gd name="connsiteY19-4516" fmla="*/ 2383091 h 4492350"/>
                <a:gd name="connsiteX20-4517" fmla="*/ 3694535 w 3694535"/>
                <a:gd name="connsiteY20-4518" fmla="*/ 1124252 h 4492350"/>
                <a:gd name="connsiteX21-4519" fmla="*/ 2222205 w 3694535"/>
                <a:gd name="connsiteY21-4520" fmla="*/ 3370521 h 4492350"/>
                <a:gd name="connsiteX22-4521" fmla="*/ 2169042 w 3694535"/>
                <a:gd name="connsiteY22-4522" fmla="*/ 3817088 h 4492350"/>
                <a:gd name="connsiteX23-4523" fmla="*/ 3317358 w 3694535"/>
                <a:gd name="connsiteY23-4524" fmla="*/ 3094074 h 4492350"/>
                <a:gd name="connsiteX24-4525" fmla="*/ 2194317 w 3694535"/>
                <a:gd name="connsiteY24-4526" fmla="*/ 4030951 h 4492350"/>
                <a:gd name="connsiteX25-4527" fmla="*/ 2232838 w 3694535"/>
                <a:gd name="connsiteY25-4528" fmla="*/ 4476307 h 4492350"/>
                <a:gd name="connsiteX26-4529" fmla="*/ 2218194 w 3694535"/>
                <a:gd name="connsiteY26-4530" fmla="*/ 4491415 h 4492350"/>
                <a:gd name="connsiteX27-4531" fmla="*/ 1743740 w 3694535"/>
                <a:gd name="connsiteY27-4532" fmla="*/ 4492350 h 4492350"/>
                <a:gd name="connsiteX0-4533" fmla="*/ 1743740 w 3694535"/>
                <a:gd name="connsiteY0-4534" fmla="*/ 4492350 h 4492350"/>
                <a:gd name="connsiteX1-4535" fmla="*/ 1796903 w 3694535"/>
                <a:gd name="connsiteY1-4536" fmla="*/ 3785190 h 4492350"/>
                <a:gd name="connsiteX2-4537" fmla="*/ 1307805 w 3694535"/>
                <a:gd name="connsiteY2-4538" fmla="*/ 3381153 h 4492350"/>
                <a:gd name="connsiteX3-4539" fmla="*/ 31898 w 3694535"/>
                <a:gd name="connsiteY3-4540" fmla="*/ 2945218 h 4492350"/>
                <a:gd name="connsiteX4-4541" fmla="*/ 1127052 w 3694535"/>
                <a:gd name="connsiteY4-4542" fmla="*/ 3242930 h 4492350"/>
                <a:gd name="connsiteX5-4543" fmla="*/ 393405 w 3694535"/>
                <a:gd name="connsiteY5-4544" fmla="*/ 2456121 h 4492350"/>
                <a:gd name="connsiteX6-4545" fmla="*/ 1775638 w 3694535"/>
                <a:gd name="connsiteY6-4546" fmla="*/ 3519376 h 4492350"/>
                <a:gd name="connsiteX7-4547" fmla="*/ 1683956 w 3694535"/>
                <a:gd name="connsiteY7-4548" fmla="*/ 2424409 h 4492350"/>
                <a:gd name="connsiteX8-4549" fmla="*/ 0 w 3694535"/>
                <a:gd name="connsiteY8-4550" fmla="*/ 754911 h 4492350"/>
                <a:gd name="connsiteX9-4551" fmla="*/ 988828 w 3694535"/>
                <a:gd name="connsiteY9-4552" fmla="*/ 1924493 h 4492350"/>
                <a:gd name="connsiteX10-4553" fmla="*/ 1113621 w 3694535"/>
                <a:gd name="connsiteY10-4554" fmla="*/ 861237 h 4492350"/>
                <a:gd name="connsiteX11-4555" fmla="*/ 1194671 w 3694535"/>
                <a:gd name="connsiteY11-4556" fmla="*/ 2026621 h 4492350"/>
                <a:gd name="connsiteX12-4557" fmla="*/ 1714640 w 3694535"/>
                <a:gd name="connsiteY12-4558" fmla="*/ 2194318 h 4492350"/>
                <a:gd name="connsiteX13-4559" fmla="*/ 1956391 w 3694535"/>
                <a:gd name="connsiteY13-4560" fmla="*/ 0 h 4492350"/>
                <a:gd name="connsiteX14-4561" fmla="*/ 2027834 w 3694535"/>
                <a:gd name="connsiteY14-4562" fmla="*/ 986216 h 4492350"/>
                <a:gd name="connsiteX15-4563" fmla="*/ 1881963 w 3694535"/>
                <a:gd name="connsiteY15-4564" fmla="*/ 2060385 h 4492350"/>
                <a:gd name="connsiteX16-4565" fmla="*/ 2057494 w 3694535"/>
                <a:gd name="connsiteY16-4566" fmla="*/ 3046321 h 4492350"/>
                <a:gd name="connsiteX17-4567" fmla="*/ 2647507 w 3694535"/>
                <a:gd name="connsiteY17-4568" fmla="*/ 2519916 h 4492350"/>
                <a:gd name="connsiteX18-4569" fmla="*/ 2913694 w 3694535"/>
                <a:gd name="connsiteY18-4570" fmla="*/ 1291762 h 4492350"/>
                <a:gd name="connsiteX19-4571" fmla="*/ 2806809 w 3694535"/>
                <a:gd name="connsiteY19-4572" fmla="*/ 2383091 h 4492350"/>
                <a:gd name="connsiteX20-4573" fmla="*/ 3694535 w 3694535"/>
                <a:gd name="connsiteY20-4574" fmla="*/ 1124252 h 4492350"/>
                <a:gd name="connsiteX21-4575" fmla="*/ 2222205 w 3694535"/>
                <a:gd name="connsiteY21-4576" fmla="*/ 3370521 h 4492350"/>
                <a:gd name="connsiteX22-4577" fmla="*/ 2169042 w 3694535"/>
                <a:gd name="connsiteY22-4578" fmla="*/ 3817088 h 4492350"/>
                <a:gd name="connsiteX23-4579" fmla="*/ 3317358 w 3694535"/>
                <a:gd name="connsiteY23-4580" fmla="*/ 3094074 h 4492350"/>
                <a:gd name="connsiteX24-4581" fmla="*/ 2194317 w 3694535"/>
                <a:gd name="connsiteY24-4582" fmla="*/ 4030951 h 4492350"/>
                <a:gd name="connsiteX25-4583" fmla="*/ 2232838 w 3694535"/>
                <a:gd name="connsiteY25-4584" fmla="*/ 4476307 h 4492350"/>
                <a:gd name="connsiteX26-4585" fmla="*/ 2218194 w 3694535"/>
                <a:gd name="connsiteY26-4586" fmla="*/ 4491415 h 4492350"/>
                <a:gd name="connsiteX27-4587" fmla="*/ 1743740 w 3694535"/>
                <a:gd name="connsiteY27-4588" fmla="*/ 4492350 h 4492350"/>
                <a:gd name="connsiteX0-4589" fmla="*/ 1743740 w 3694535"/>
                <a:gd name="connsiteY0-4590" fmla="*/ 4492350 h 4492350"/>
                <a:gd name="connsiteX1-4591" fmla="*/ 1796903 w 3694535"/>
                <a:gd name="connsiteY1-4592" fmla="*/ 3785190 h 4492350"/>
                <a:gd name="connsiteX2-4593" fmla="*/ 1307805 w 3694535"/>
                <a:gd name="connsiteY2-4594" fmla="*/ 3381153 h 4492350"/>
                <a:gd name="connsiteX3-4595" fmla="*/ 31898 w 3694535"/>
                <a:gd name="connsiteY3-4596" fmla="*/ 2945218 h 4492350"/>
                <a:gd name="connsiteX4-4597" fmla="*/ 1127052 w 3694535"/>
                <a:gd name="connsiteY4-4598" fmla="*/ 3242930 h 4492350"/>
                <a:gd name="connsiteX5-4599" fmla="*/ 393405 w 3694535"/>
                <a:gd name="connsiteY5-4600" fmla="*/ 2456121 h 4492350"/>
                <a:gd name="connsiteX6-4601" fmla="*/ 1775638 w 3694535"/>
                <a:gd name="connsiteY6-4602" fmla="*/ 3519376 h 4492350"/>
                <a:gd name="connsiteX7-4603" fmla="*/ 1683956 w 3694535"/>
                <a:gd name="connsiteY7-4604" fmla="*/ 2424409 h 4492350"/>
                <a:gd name="connsiteX8-4605" fmla="*/ 0 w 3694535"/>
                <a:gd name="connsiteY8-4606" fmla="*/ 754911 h 4492350"/>
                <a:gd name="connsiteX9-4607" fmla="*/ 988828 w 3694535"/>
                <a:gd name="connsiteY9-4608" fmla="*/ 1924493 h 4492350"/>
                <a:gd name="connsiteX10-4609" fmla="*/ 1113621 w 3694535"/>
                <a:gd name="connsiteY10-4610" fmla="*/ 861237 h 4492350"/>
                <a:gd name="connsiteX11-4611" fmla="*/ 1194671 w 3694535"/>
                <a:gd name="connsiteY11-4612" fmla="*/ 2026621 h 4492350"/>
                <a:gd name="connsiteX12-4613" fmla="*/ 1714640 w 3694535"/>
                <a:gd name="connsiteY12-4614" fmla="*/ 2194318 h 4492350"/>
                <a:gd name="connsiteX13-4615" fmla="*/ 1956391 w 3694535"/>
                <a:gd name="connsiteY13-4616" fmla="*/ 0 h 4492350"/>
                <a:gd name="connsiteX14-4617" fmla="*/ 2027834 w 3694535"/>
                <a:gd name="connsiteY14-4618" fmla="*/ 986216 h 4492350"/>
                <a:gd name="connsiteX15-4619" fmla="*/ 1881963 w 3694535"/>
                <a:gd name="connsiteY15-4620" fmla="*/ 2060385 h 4492350"/>
                <a:gd name="connsiteX16-4621" fmla="*/ 2057494 w 3694535"/>
                <a:gd name="connsiteY16-4622" fmla="*/ 3046321 h 4492350"/>
                <a:gd name="connsiteX17-4623" fmla="*/ 2647507 w 3694535"/>
                <a:gd name="connsiteY17-4624" fmla="*/ 2519916 h 4492350"/>
                <a:gd name="connsiteX18-4625" fmla="*/ 2913694 w 3694535"/>
                <a:gd name="connsiteY18-4626" fmla="*/ 1291762 h 4492350"/>
                <a:gd name="connsiteX19-4627" fmla="*/ 2806809 w 3694535"/>
                <a:gd name="connsiteY19-4628" fmla="*/ 2383091 h 4492350"/>
                <a:gd name="connsiteX20-4629" fmla="*/ 3694535 w 3694535"/>
                <a:gd name="connsiteY20-4630" fmla="*/ 1124252 h 4492350"/>
                <a:gd name="connsiteX21-4631" fmla="*/ 2222205 w 3694535"/>
                <a:gd name="connsiteY21-4632" fmla="*/ 3370521 h 4492350"/>
                <a:gd name="connsiteX22-4633" fmla="*/ 2169042 w 3694535"/>
                <a:gd name="connsiteY22-4634" fmla="*/ 3817088 h 4492350"/>
                <a:gd name="connsiteX23-4635" fmla="*/ 3317358 w 3694535"/>
                <a:gd name="connsiteY23-4636" fmla="*/ 3094074 h 4492350"/>
                <a:gd name="connsiteX24-4637" fmla="*/ 2194317 w 3694535"/>
                <a:gd name="connsiteY24-4638" fmla="*/ 4030951 h 4492350"/>
                <a:gd name="connsiteX25-4639" fmla="*/ 2232838 w 3694535"/>
                <a:gd name="connsiteY25-4640" fmla="*/ 4476307 h 4492350"/>
                <a:gd name="connsiteX26-4641" fmla="*/ 2218194 w 3694535"/>
                <a:gd name="connsiteY26-4642" fmla="*/ 4491415 h 4492350"/>
                <a:gd name="connsiteX27-4643" fmla="*/ 1743740 w 3694535"/>
                <a:gd name="connsiteY27-4644" fmla="*/ 4492350 h 4492350"/>
                <a:gd name="connsiteX0-4645" fmla="*/ 1743740 w 3694535"/>
                <a:gd name="connsiteY0-4646" fmla="*/ 4492350 h 4492350"/>
                <a:gd name="connsiteX1-4647" fmla="*/ 1796903 w 3694535"/>
                <a:gd name="connsiteY1-4648" fmla="*/ 3785190 h 4492350"/>
                <a:gd name="connsiteX2-4649" fmla="*/ 1307805 w 3694535"/>
                <a:gd name="connsiteY2-4650" fmla="*/ 3381153 h 4492350"/>
                <a:gd name="connsiteX3-4651" fmla="*/ 31898 w 3694535"/>
                <a:gd name="connsiteY3-4652" fmla="*/ 2945218 h 4492350"/>
                <a:gd name="connsiteX4-4653" fmla="*/ 1127052 w 3694535"/>
                <a:gd name="connsiteY4-4654" fmla="*/ 3242930 h 4492350"/>
                <a:gd name="connsiteX5-4655" fmla="*/ 393405 w 3694535"/>
                <a:gd name="connsiteY5-4656" fmla="*/ 2456121 h 4492350"/>
                <a:gd name="connsiteX6-4657" fmla="*/ 1775638 w 3694535"/>
                <a:gd name="connsiteY6-4658" fmla="*/ 3519376 h 4492350"/>
                <a:gd name="connsiteX7-4659" fmla="*/ 1683956 w 3694535"/>
                <a:gd name="connsiteY7-4660" fmla="*/ 2424409 h 4492350"/>
                <a:gd name="connsiteX8-4661" fmla="*/ 0 w 3694535"/>
                <a:gd name="connsiteY8-4662" fmla="*/ 754911 h 4492350"/>
                <a:gd name="connsiteX9-4663" fmla="*/ 988828 w 3694535"/>
                <a:gd name="connsiteY9-4664" fmla="*/ 1924493 h 4492350"/>
                <a:gd name="connsiteX10-4665" fmla="*/ 1113621 w 3694535"/>
                <a:gd name="connsiteY10-4666" fmla="*/ 861237 h 4492350"/>
                <a:gd name="connsiteX11-4667" fmla="*/ 1194671 w 3694535"/>
                <a:gd name="connsiteY11-4668" fmla="*/ 2026621 h 4492350"/>
                <a:gd name="connsiteX12-4669" fmla="*/ 1714640 w 3694535"/>
                <a:gd name="connsiteY12-4670" fmla="*/ 2194318 h 4492350"/>
                <a:gd name="connsiteX13-4671" fmla="*/ 1956391 w 3694535"/>
                <a:gd name="connsiteY13-4672" fmla="*/ 0 h 4492350"/>
                <a:gd name="connsiteX14-4673" fmla="*/ 2027834 w 3694535"/>
                <a:gd name="connsiteY14-4674" fmla="*/ 986216 h 4492350"/>
                <a:gd name="connsiteX15-4675" fmla="*/ 1881963 w 3694535"/>
                <a:gd name="connsiteY15-4676" fmla="*/ 2060385 h 4492350"/>
                <a:gd name="connsiteX16-4677" fmla="*/ 2057494 w 3694535"/>
                <a:gd name="connsiteY16-4678" fmla="*/ 3046321 h 4492350"/>
                <a:gd name="connsiteX17-4679" fmla="*/ 2647507 w 3694535"/>
                <a:gd name="connsiteY17-4680" fmla="*/ 2519916 h 4492350"/>
                <a:gd name="connsiteX18-4681" fmla="*/ 2913694 w 3694535"/>
                <a:gd name="connsiteY18-4682" fmla="*/ 1291762 h 4492350"/>
                <a:gd name="connsiteX19-4683" fmla="*/ 2806809 w 3694535"/>
                <a:gd name="connsiteY19-4684" fmla="*/ 2383091 h 4492350"/>
                <a:gd name="connsiteX20-4685" fmla="*/ 3694535 w 3694535"/>
                <a:gd name="connsiteY20-4686" fmla="*/ 1124252 h 4492350"/>
                <a:gd name="connsiteX21-4687" fmla="*/ 2222205 w 3694535"/>
                <a:gd name="connsiteY21-4688" fmla="*/ 3370521 h 4492350"/>
                <a:gd name="connsiteX22-4689" fmla="*/ 2169042 w 3694535"/>
                <a:gd name="connsiteY22-4690" fmla="*/ 3817088 h 4492350"/>
                <a:gd name="connsiteX23-4691" fmla="*/ 3317358 w 3694535"/>
                <a:gd name="connsiteY23-4692" fmla="*/ 3094074 h 4492350"/>
                <a:gd name="connsiteX24-4693" fmla="*/ 2194317 w 3694535"/>
                <a:gd name="connsiteY24-4694" fmla="*/ 4030951 h 4492350"/>
                <a:gd name="connsiteX25-4695" fmla="*/ 2232838 w 3694535"/>
                <a:gd name="connsiteY25-4696" fmla="*/ 4476307 h 4492350"/>
                <a:gd name="connsiteX26-4697" fmla="*/ 2218194 w 3694535"/>
                <a:gd name="connsiteY26-4698" fmla="*/ 4491415 h 4492350"/>
                <a:gd name="connsiteX27-4699" fmla="*/ 1743740 w 3694535"/>
                <a:gd name="connsiteY27-4700" fmla="*/ 4492350 h 4492350"/>
                <a:gd name="connsiteX0-4701" fmla="*/ 1743740 w 3694535"/>
                <a:gd name="connsiteY0-4702" fmla="*/ 4492350 h 4492350"/>
                <a:gd name="connsiteX1-4703" fmla="*/ 1796903 w 3694535"/>
                <a:gd name="connsiteY1-4704" fmla="*/ 3785190 h 4492350"/>
                <a:gd name="connsiteX2-4705" fmla="*/ 1307805 w 3694535"/>
                <a:gd name="connsiteY2-4706" fmla="*/ 3381153 h 4492350"/>
                <a:gd name="connsiteX3-4707" fmla="*/ 31898 w 3694535"/>
                <a:gd name="connsiteY3-4708" fmla="*/ 2945218 h 4492350"/>
                <a:gd name="connsiteX4-4709" fmla="*/ 1127052 w 3694535"/>
                <a:gd name="connsiteY4-4710" fmla="*/ 3242930 h 4492350"/>
                <a:gd name="connsiteX5-4711" fmla="*/ 393405 w 3694535"/>
                <a:gd name="connsiteY5-4712" fmla="*/ 2456121 h 4492350"/>
                <a:gd name="connsiteX6-4713" fmla="*/ 1775638 w 3694535"/>
                <a:gd name="connsiteY6-4714" fmla="*/ 3519376 h 4492350"/>
                <a:gd name="connsiteX7-4715" fmla="*/ 1683956 w 3694535"/>
                <a:gd name="connsiteY7-4716" fmla="*/ 2424409 h 4492350"/>
                <a:gd name="connsiteX8-4717" fmla="*/ 0 w 3694535"/>
                <a:gd name="connsiteY8-4718" fmla="*/ 754911 h 4492350"/>
                <a:gd name="connsiteX9-4719" fmla="*/ 988828 w 3694535"/>
                <a:gd name="connsiteY9-4720" fmla="*/ 1924493 h 4492350"/>
                <a:gd name="connsiteX10-4721" fmla="*/ 1093568 w 3694535"/>
                <a:gd name="connsiteY10-4722" fmla="*/ 857226 h 4492350"/>
                <a:gd name="connsiteX11-4723" fmla="*/ 1194671 w 3694535"/>
                <a:gd name="connsiteY11-4724" fmla="*/ 2026621 h 4492350"/>
                <a:gd name="connsiteX12-4725" fmla="*/ 1714640 w 3694535"/>
                <a:gd name="connsiteY12-4726" fmla="*/ 2194318 h 4492350"/>
                <a:gd name="connsiteX13-4727" fmla="*/ 1956391 w 3694535"/>
                <a:gd name="connsiteY13-4728" fmla="*/ 0 h 4492350"/>
                <a:gd name="connsiteX14-4729" fmla="*/ 2027834 w 3694535"/>
                <a:gd name="connsiteY14-4730" fmla="*/ 986216 h 4492350"/>
                <a:gd name="connsiteX15-4731" fmla="*/ 1881963 w 3694535"/>
                <a:gd name="connsiteY15-4732" fmla="*/ 2060385 h 4492350"/>
                <a:gd name="connsiteX16-4733" fmla="*/ 2057494 w 3694535"/>
                <a:gd name="connsiteY16-4734" fmla="*/ 3046321 h 4492350"/>
                <a:gd name="connsiteX17-4735" fmla="*/ 2647507 w 3694535"/>
                <a:gd name="connsiteY17-4736" fmla="*/ 2519916 h 4492350"/>
                <a:gd name="connsiteX18-4737" fmla="*/ 2913694 w 3694535"/>
                <a:gd name="connsiteY18-4738" fmla="*/ 1291762 h 4492350"/>
                <a:gd name="connsiteX19-4739" fmla="*/ 2806809 w 3694535"/>
                <a:gd name="connsiteY19-4740" fmla="*/ 2383091 h 4492350"/>
                <a:gd name="connsiteX20-4741" fmla="*/ 3694535 w 3694535"/>
                <a:gd name="connsiteY20-4742" fmla="*/ 1124252 h 4492350"/>
                <a:gd name="connsiteX21-4743" fmla="*/ 2222205 w 3694535"/>
                <a:gd name="connsiteY21-4744" fmla="*/ 3370521 h 4492350"/>
                <a:gd name="connsiteX22-4745" fmla="*/ 2169042 w 3694535"/>
                <a:gd name="connsiteY22-4746" fmla="*/ 3817088 h 4492350"/>
                <a:gd name="connsiteX23-4747" fmla="*/ 3317358 w 3694535"/>
                <a:gd name="connsiteY23-4748" fmla="*/ 3094074 h 4492350"/>
                <a:gd name="connsiteX24-4749" fmla="*/ 2194317 w 3694535"/>
                <a:gd name="connsiteY24-4750" fmla="*/ 4030951 h 4492350"/>
                <a:gd name="connsiteX25-4751" fmla="*/ 2232838 w 3694535"/>
                <a:gd name="connsiteY25-4752" fmla="*/ 4476307 h 4492350"/>
                <a:gd name="connsiteX26-4753" fmla="*/ 2218194 w 3694535"/>
                <a:gd name="connsiteY26-4754" fmla="*/ 4491415 h 4492350"/>
                <a:gd name="connsiteX27-4755" fmla="*/ 1743740 w 3694535"/>
                <a:gd name="connsiteY27-4756" fmla="*/ 4492350 h 4492350"/>
                <a:gd name="connsiteX0-4757" fmla="*/ 1743740 w 3694535"/>
                <a:gd name="connsiteY0-4758" fmla="*/ 4492350 h 4492350"/>
                <a:gd name="connsiteX1-4759" fmla="*/ 1796903 w 3694535"/>
                <a:gd name="connsiteY1-4760" fmla="*/ 3785190 h 4492350"/>
                <a:gd name="connsiteX2-4761" fmla="*/ 1307805 w 3694535"/>
                <a:gd name="connsiteY2-4762" fmla="*/ 3381153 h 4492350"/>
                <a:gd name="connsiteX3-4763" fmla="*/ 31898 w 3694535"/>
                <a:gd name="connsiteY3-4764" fmla="*/ 2945218 h 4492350"/>
                <a:gd name="connsiteX4-4765" fmla="*/ 1127052 w 3694535"/>
                <a:gd name="connsiteY4-4766" fmla="*/ 3242930 h 4492350"/>
                <a:gd name="connsiteX5-4767" fmla="*/ 393405 w 3694535"/>
                <a:gd name="connsiteY5-4768" fmla="*/ 2456121 h 4492350"/>
                <a:gd name="connsiteX6-4769" fmla="*/ 1775638 w 3694535"/>
                <a:gd name="connsiteY6-4770" fmla="*/ 3519376 h 4492350"/>
                <a:gd name="connsiteX7-4771" fmla="*/ 1683956 w 3694535"/>
                <a:gd name="connsiteY7-4772" fmla="*/ 2424409 h 4492350"/>
                <a:gd name="connsiteX8-4773" fmla="*/ 0 w 3694535"/>
                <a:gd name="connsiteY8-4774" fmla="*/ 754911 h 4492350"/>
                <a:gd name="connsiteX9-4775" fmla="*/ 988828 w 3694535"/>
                <a:gd name="connsiteY9-4776" fmla="*/ 1924493 h 4492350"/>
                <a:gd name="connsiteX10-4777" fmla="*/ 1093568 w 3694535"/>
                <a:gd name="connsiteY10-4778" fmla="*/ 857226 h 4492350"/>
                <a:gd name="connsiteX11-4779" fmla="*/ 1194671 w 3694535"/>
                <a:gd name="connsiteY11-4780" fmla="*/ 2026621 h 4492350"/>
                <a:gd name="connsiteX12-4781" fmla="*/ 1714640 w 3694535"/>
                <a:gd name="connsiteY12-4782" fmla="*/ 2194318 h 4492350"/>
                <a:gd name="connsiteX13-4783" fmla="*/ 1956391 w 3694535"/>
                <a:gd name="connsiteY13-4784" fmla="*/ 0 h 4492350"/>
                <a:gd name="connsiteX14-4785" fmla="*/ 2027834 w 3694535"/>
                <a:gd name="connsiteY14-4786" fmla="*/ 986216 h 4492350"/>
                <a:gd name="connsiteX15-4787" fmla="*/ 1881963 w 3694535"/>
                <a:gd name="connsiteY15-4788" fmla="*/ 2060385 h 4492350"/>
                <a:gd name="connsiteX16-4789" fmla="*/ 2057494 w 3694535"/>
                <a:gd name="connsiteY16-4790" fmla="*/ 3046321 h 4492350"/>
                <a:gd name="connsiteX17-4791" fmla="*/ 2647507 w 3694535"/>
                <a:gd name="connsiteY17-4792" fmla="*/ 2519916 h 4492350"/>
                <a:gd name="connsiteX18-4793" fmla="*/ 2913694 w 3694535"/>
                <a:gd name="connsiteY18-4794" fmla="*/ 1291762 h 4492350"/>
                <a:gd name="connsiteX19-4795" fmla="*/ 2806809 w 3694535"/>
                <a:gd name="connsiteY19-4796" fmla="*/ 2383091 h 4492350"/>
                <a:gd name="connsiteX20-4797" fmla="*/ 3694535 w 3694535"/>
                <a:gd name="connsiteY20-4798" fmla="*/ 1124252 h 4492350"/>
                <a:gd name="connsiteX21-4799" fmla="*/ 2222205 w 3694535"/>
                <a:gd name="connsiteY21-4800" fmla="*/ 3370521 h 4492350"/>
                <a:gd name="connsiteX22-4801" fmla="*/ 2169042 w 3694535"/>
                <a:gd name="connsiteY22-4802" fmla="*/ 3817088 h 4492350"/>
                <a:gd name="connsiteX23-4803" fmla="*/ 3317358 w 3694535"/>
                <a:gd name="connsiteY23-4804" fmla="*/ 3094074 h 4492350"/>
                <a:gd name="connsiteX24-4805" fmla="*/ 2194317 w 3694535"/>
                <a:gd name="connsiteY24-4806" fmla="*/ 4030951 h 4492350"/>
                <a:gd name="connsiteX25-4807" fmla="*/ 2232838 w 3694535"/>
                <a:gd name="connsiteY25-4808" fmla="*/ 4476307 h 4492350"/>
                <a:gd name="connsiteX26-4809" fmla="*/ 2218194 w 3694535"/>
                <a:gd name="connsiteY26-4810" fmla="*/ 4491415 h 4492350"/>
                <a:gd name="connsiteX27-4811" fmla="*/ 1743740 w 3694535"/>
                <a:gd name="connsiteY27-4812" fmla="*/ 4492350 h 4492350"/>
                <a:gd name="connsiteX0-4813" fmla="*/ 1711842 w 3662637"/>
                <a:gd name="connsiteY0-4814" fmla="*/ 4492350 h 4492350"/>
                <a:gd name="connsiteX1-4815" fmla="*/ 1765005 w 3662637"/>
                <a:gd name="connsiteY1-4816" fmla="*/ 3785190 h 4492350"/>
                <a:gd name="connsiteX2-4817" fmla="*/ 1275907 w 3662637"/>
                <a:gd name="connsiteY2-4818" fmla="*/ 3381153 h 4492350"/>
                <a:gd name="connsiteX3-4819" fmla="*/ 0 w 3662637"/>
                <a:gd name="connsiteY3-4820" fmla="*/ 2945218 h 4492350"/>
                <a:gd name="connsiteX4-4821" fmla="*/ 1095154 w 3662637"/>
                <a:gd name="connsiteY4-4822" fmla="*/ 3242930 h 4492350"/>
                <a:gd name="connsiteX5-4823" fmla="*/ 361507 w 3662637"/>
                <a:gd name="connsiteY5-4824" fmla="*/ 2456121 h 4492350"/>
                <a:gd name="connsiteX6-4825" fmla="*/ 1743740 w 3662637"/>
                <a:gd name="connsiteY6-4826" fmla="*/ 3519376 h 4492350"/>
                <a:gd name="connsiteX7-4827" fmla="*/ 1652058 w 3662637"/>
                <a:gd name="connsiteY7-4828" fmla="*/ 2424409 h 4492350"/>
                <a:gd name="connsiteX8-4829" fmla="*/ 8208 w 3662637"/>
                <a:gd name="connsiteY8-4830" fmla="*/ 750901 h 4492350"/>
                <a:gd name="connsiteX9-4831" fmla="*/ 956930 w 3662637"/>
                <a:gd name="connsiteY9-4832" fmla="*/ 1924493 h 4492350"/>
                <a:gd name="connsiteX10-4833" fmla="*/ 1061670 w 3662637"/>
                <a:gd name="connsiteY10-4834" fmla="*/ 857226 h 4492350"/>
                <a:gd name="connsiteX11-4835" fmla="*/ 1162773 w 3662637"/>
                <a:gd name="connsiteY11-4836" fmla="*/ 2026621 h 4492350"/>
                <a:gd name="connsiteX12-4837" fmla="*/ 1682742 w 3662637"/>
                <a:gd name="connsiteY12-4838" fmla="*/ 2194318 h 4492350"/>
                <a:gd name="connsiteX13-4839" fmla="*/ 1924493 w 3662637"/>
                <a:gd name="connsiteY13-4840" fmla="*/ 0 h 4492350"/>
                <a:gd name="connsiteX14-4841" fmla="*/ 1995936 w 3662637"/>
                <a:gd name="connsiteY14-4842" fmla="*/ 986216 h 4492350"/>
                <a:gd name="connsiteX15-4843" fmla="*/ 1850065 w 3662637"/>
                <a:gd name="connsiteY15-4844" fmla="*/ 2060385 h 4492350"/>
                <a:gd name="connsiteX16-4845" fmla="*/ 2025596 w 3662637"/>
                <a:gd name="connsiteY16-4846" fmla="*/ 3046321 h 4492350"/>
                <a:gd name="connsiteX17-4847" fmla="*/ 2615609 w 3662637"/>
                <a:gd name="connsiteY17-4848" fmla="*/ 2519916 h 4492350"/>
                <a:gd name="connsiteX18-4849" fmla="*/ 2881796 w 3662637"/>
                <a:gd name="connsiteY18-4850" fmla="*/ 1291762 h 4492350"/>
                <a:gd name="connsiteX19-4851" fmla="*/ 2774911 w 3662637"/>
                <a:gd name="connsiteY19-4852" fmla="*/ 2383091 h 4492350"/>
                <a:gd name="connsiteX20-4853" fmla="*/ 3662637 w 3662637"/>
                <a:gd name="connsiteY20-4854" fmla="*/ 1124252 h 4492350"/>
                <a:gd name="connsiteX21-4855" fmla="*/ 2190307 w 3662637"/>
                <a:gd name="connsiteY21-4856" fmla="*/ 3370521 h 4492350"/>
                <a:gd name="connsiteX22-4857" fmla="*/ 2137144 w 3662637"/>
                <a:gd name="connsiteY22-4858" fmla="*/ 3817088 h 4492350"/>
                <a:gd name="connsiteX23-4859" fmla="*/ 3285460 w 3662637"/>
                <a:gd name="connsiteY23-4860" fmla="*/ 3094074 h 4492350"/>
                <a:gd name="connsiteX24-4861" fmla="*/ 2162419 w 3662637"/>
                <a:gd name="connsiteY24-4862" fmla="*/ 4030951 h 4492350"/>
                <a:gd name="connsiteX25-4863" fmla="*/ 2200940 w 3662637"/>
                <a:gd name="connsiteY25-4864" fmla="*/ 4476307 h 4492350"/>
                <a:gd name="connsiteX26-4865" fmla="*/ 2186296 w 3662637"/>
                <a:gd name="connsiteY26-4866" fmla="*/ 4491415 h 4492350"/>
                <a:gd name="connsiteX27-4867" fmla="*/ 1711842 w 3662637"/>
                <a:gd name="connsiteY27-4868" fmla="*/ 4492350 h 4492350"/>
                <a:gd name="connsiteX0-4869" fmla="*/ 1711842 w 3662637"/>
                <a:gd name="connsiteY0-4870" fmla="*/ 4492350 h 4492350"/>
                <a:gd name="connsiteX1-4871" fmla="*/ 1765005 w 3662637"/>
                <a:gd name="connsiteY1-4872" fmla="*/ 3785190 h 4492350"/>
                <a:gd name="connsiteX2-4873" fmla="*/ 1275907 w 3662637"/>
                <a:gd name="connsiteY2-4874" fmla="*/ 3381153 h 4492350"/>
                <a:gd name="connsiteX3-4875" fmla="*/ 0 w 3662637"/>
                <a:gd name="connsiteY3-4876" fmla="*/ 2945218 h 4492350"/>
                <a:gd name="connsiteX4-4877" fmla="*/ 1095154 w 3662637"/>
                <a:gd name="connsiteY4-4878" fmla="*/ 3242930 h 4492350"/>
                <a:gd name="connsiteX5-4879" fmla="*/ 361507 w 3662637"/>
                <a:gd name="connsiteY5-4880" fmla="*/ 2456121 h 4492350"/>
                <a:gd name="connsiteX6-4881" fmla="*/ 1743740 w 3662637"/>
                <a:gd name="connsiteY6-4882" fmla="*/ 3519376 h 4492350"/>
                <a:gd name="connsiteX7-4883" fmla="*/ 1652058 w 3662637"/>
                <a:gd name="connsiteY7-4884" fmla="*/ 2424409 h 4492350"/>
                <a:gd name="connsiteX8-4885" fmla="*/ 8208 w 3662637"/>
                <a:gd name="connsiteY8-4886" fmla="*/ 750901 h 4492350"/>
                <a:gd name="connsiteX9-4887" fmla="*/ 956930 w 3662637"/>
                <a:gd name="connsiteY9-4888" fmla="*/ 1924493 h 4492350"/>
                <a:gd name="connsiteX10-4889" fmla="*/ 1061670 w 3662637"/>
                <a:gd name="connsiteY10-4890" fmla="*/ 857226 h 4492350"/>
                <a:gd name="connsiteX11-4891" fmla="*/ 1162773 w 3662637"/>
                <a:gd name="connsiteY11-4892" fmla="*/ 2026621 h 4492350"/>
                <a:gd name="connsiteX12-4893" fmla="*/ 1682742 w 3662637"/>
                <a:gd name="connsiteY12-4894" fmla="*/ 2194318 h 4492350"/>
                <a:gd name="connsiteX13-4895" fmla="*/ 1924493 w 3662637"/>
                <a:gd name="connsiteY13-4896" fmla="*/ 0 h 4492350"/>
                <a:gd name="connsiteX14-4897" fmla="*/ 1995936 w 3662637"/>
                <a:gd name="connsiteY14-4898" fmla="*/ 986216 h 4492350"/>
                <a:gd name="connsiteX15-4899" fmla="*/ 1850065 w 3662637"/>
                <a:gd name="connsiteY15-4900" fmla="*/ 2060385 h 4492350"/>
                <a:gd name="connsiteX16-4901" fmla="*/ 2025596 w 3662637"/>
                <a:gd name="connsiteY16-4902" fmla="*/ 3046321 h 4492350"/>
                <a:gd name="connsiteX17-4903" fmla="*/ 2615609 w 3662637"/>
                <a:gd name="connsiteY17-4904" fmla="*/ 2519916 h 4492350"/>
                <a:gd name="connsiteX18-4905" fmla="*/ 2881796 w 3662637"/>
                <a:gd name="connsiteY18-4906" fmla="*/ 1291762 h 4492350"/>
                <a:gd name="connsiteX19-4907" fmla="*/ 2774911 w 3662637"/>
                <a:gd name="connsiteY19-4908" fmla="*/ 2383091 h 4492350"/>
                <a:gd name="connsiteX20-4909" fmla="*/ 3662637 w 3662637"/>
                <a:gd name="connsiteY20-4910" fmla="*/ 1124252 h 4492350"/>
                <a:gd name="connsiteX21-4911" fmla="*/ 2190307 w 3662637"/>
                <a:gd name="connsiteY21-4912" fmla="*/ 3370521 h 4492350"/>
                <a:gd name="connsiteX22-4913" fmla="*/ 2137144 w 3662637"/>
                <a:gd name="connsiteY22-4914" fmla="*/ 3817088 h 4492350"/>
                <a:gd name="connsiteX23-4915" fmla="*/ 3285460 w 3662637"/>
                <a:gd name="connsiteY23-4916" fmla="*/ 3094074 h 4492350"/>
                <a:gd name="connsiteX24-4917" fmla="*/ 2162419 w 3662637"/>
                <a:gd name="connsiteY24-4918" fmla="*/ 4030951 h 4492350"/>
                <a:gd name="connsiteX25-4919" fmla="*/ 2200940 w 3662637"/>
                <a:gd name="connsiteY25-4920" fmla="*/ 4476307 h 4492350"/>
                <a:gd name="connsiteX26-4921" fmla="*/ 2186296 w 3662637"/>
                <a:gd name="connsiteY26-4922" fmla="*/ 4491415 h 4492350"/>
                <a:gd name="connsiteX27-4923" fmla="*/ 1711842 w 3662637"/>
                <a:gd name="connsiteY27-4924" fmla="*/ 4492350 h 4492350"/>
                <a:gd name="connsiteX0-4925" fmla="*/ 1711842 w 3662637"/>
                <a:gd name="connsiteY0-4926" fmla="*/ 4492350 h 4492350"/>
                <a:gd name="connsiteX1-4927" fmla="*/ 1765005 w 3662637"/>
                <a:gd name="connsiteY1-4928" fmla="*/ 3785190 h 4492350"/>
                <a:gd name="connsiteX2-4929" fmla="*/ 1275907 w 3662637"/>
                <a:gd name="connsiteY2-4930" fmla="*/ 3381153 h 4492350"/>
                <a:gd name="connsiteX3-4931" fmla="*/ 0 w 3662637"/>
                <a:gd name="connsiteY3-4932" fmla="*/ 2945218 h 4492350"/>
                <a:gd name="connsiteX4-4933" fmla="*/ 1095154 w 3662637"/>
                <a:gd name="connsiteY4-4934" fmla="*/ 3242930 h 4492350"/>
                <a:gd name="connsiteX5-4935" fmla="*/ 361507 w 3662637"/>
                <a:gd name="connsiteY5-4936" fmla="*/ 2456121 h 4492350"/>
                <a:gd name="connsiteX6-4937" fmla="*/ 1743740 w 3662637"/>
                <a:gd name="connsiteY6-4938" fmla="*/ 3519376 h 4492350"/>
                <a:gd name="connsiteX7-4939" fmla="*/ 1652058 w 3662637"/>
                <a:gd name="connsiteY7-4940" fmla="*/ 2424409 h 4492350"/>
                <a:gd name="connsiteX8-4941" fmla="*/ 8208 w 3662637"/>
                <a:gd name="connsiteY8-4942" fmla="*/ 750901 h 4492350"/>
                <a:gd name="connsiteX9-4943" fmla="*/ 956930 w 3662637"/>
                <a:gd name="connsiteY9-4944" fmla="*/ 1924493 h 4492350"/>
                <a:gd name="connsiteX10-4945" fmla="*/ 1061670 w 3662637"/>
                <a:gd name="connsiteY10-4946" fmla="*/ 857226 h 4492350"/>
                <a:gd name="connsiteX11-4947" fmla="*/ 1162773 w 3662637"/>
                <a:gd name="connsiteY11-4948" fmla="*/ 2026621 h 4492350"/>
                <a:gd name="connsiteX12-4949" fmla="*/ 1682742 w 3662637"/>
                <a:gd name="connsiteY12-4950" fmla="*/ 2194318 h 4492350"/>
                <a:gd name="connsiteX13-4951" fmla="*/ 1924493 w 3662637"/>
                <a:gd name="connsiteY13-4952" fmla="*/ 0 h 4492350"/>
                <a:gd name="connsiteX14-4953" fmla="*/ 1995936 w 3662637"/>
                <a:gd name="connsiteY14-4954" fmla="*/ 986216 h 4492350"/>
                <a:gd name="connsiteX15-4955" fmla="*/ 1850065 w 3662637"/>
                <a:gd name="connsiteY15-4956" fmla="*/ 2060385 h 4492350"/>
                <a:gd name="connsiteX16-4957" fmla="*/ 2025596 w 3662637"/>
                <a:gd name="connsiteY16-4958" fmla="*/ 3046321 h 4492350"/>
                <a:gd name="connsiteX17-4959" fmla="*/ 2615609 w 3662637"/>
                <a:gd name="connsiteY17-4960" fmla="*/ 2519916 h 4492350"/>
                <a:gd name="connsiteX18-4961" fmla="*/ 2881796 w 3662637"/>
                <a:gd name="connsiteY18-4962" fmla="*/ 1291762 h 4492350"/>
                <a:gd name="connsiteX19-4963" fmla="*/ 2774911 w 3662637"/>
                <a:gd name="connsiteY19-4964" fmla="*/ 2383091 h 4492350"/>
                <a:gd name="connsiteX20-4965" fmla="*/ 3662637 w 3662637"/>
                <a:gd name="connsiteY20-4966" fmla="*/ 1124252 h 4492350"/>
                <a:gd name="connsiteX21-4967" fmla="*/ 2190307 w 3662637"/>
                <a:gd name="connsiteY21-4968" fmla="*/ 3370521 h 4492350"/>
                <a:gd name="connsiteX22-4969" fmla="*/ 2137144 w 3662637"/>
                <a:gd name="connsiteY22-4970" fmla="*/ 3817088 h 4492350"/>
                <a:gd name="connsiteX23-4971" fmla="*/ 3285460 w 3662637"/>
                <a:gd name="connsiteY23-4972" fmla="*/ 3094074 h 4492350"/>
                <a:gd name="connsiteX24-4973" fmla="*/ 2162419 w 3662637"/>
                <a:gd name="connsiteY24-4974" fmla="*/ 4030951 h 4492350"/>
                <a:gd name="connsiteX25-4975" fmla="*/ 2200940 w 3662637"/>
                <a:gd name="connsiteY25-4976" fmla="*/ 4476307 h 4492350"/>
                <a:gd name="connsiteX26-4977" fmla="*/ 2186296 w 3662637"/>
                <a:gd name="connsiteY26-4978" fmla="*/ 4491415 h 4492350"/>
                <a:gd name="connsiteX27-4979" fmla="*/ 1711842 w 3662637"/>
                <a:gd name="connsiteY27-4980" fmla="*/ 4492350 h 4492350"/>
                <a:gd name="connsiteX0-4981" fmla="*/ 1711842 w 3662637"/>
                <a:gd name="connsiteY0-4982" fmla="*/ 4492350 h 4492350"/>
                <a:gd name="connsiteX1-4983" fmla="*/ 1765005 w 3662637"/>
                <a:gd name="connsiteY1-4984" fmla="*/ 3785190 h 4492350"/>
                <a:gd name="connsiteX2-4985" fmla="*/ 1275907 w 3662637"/>
                <a:gd name="connsiteY2-4986" fmla="*/ 3381153 h 4492350"/>
                <a:gd name="connsiteX3-4987" fmla="*/ 0 w 3662637"/>
                <a:gd name="connsiteY3-4988" fmla="*/ 2945218 h 4492350"/>
                <a:gd name="connsiteX4-4989" fmla="*/ 1095154 w 3662637"/>
                <a:gd name="connsiteY4-4990" fmla="*/ 3242930 h 4492350"/>
                <a:gd name="connsiteX5-4991" fmla="*/ 361507 w 3662637"/>
                <a:gd name="connsiteY5-4992" fmla="*/ 2456121 h 4492350"/>
                <a:gd name="connsiteX6-4993" fmla="*/ 1743740 w 3662637"/>
                <a:gd name="connsiteY6-4994" fmla="*/ 3519376 h 4492350"/>
                <a:gd name="connsiteX7-4995" fmla="*/ 1652058 w 3662637"/>
                <a:gd name="connsiteY7-4996" fmla="*/ 2424409 h 4492350"/>
                <a:gd name="connsiteX8-4997" fmla="*/ 8208 w 3662637"/>
                <a:gd name="connsiteY8-4998" fmla="*/ 750901 h 4492350"/>
                <a:gd name="connsiteX9-4999" fmla="*/ 956930 w 3662637"/>
                <a:gd name="connsiteY9-5000" fmla="*/ 1924493 h 4492350"/>
                <a:gd name="connsiteX10-5001" fmla="*/ 1061670 w 3662637"/>
                <a:gd name="connsiteY10-5002" fmla="*/ 857226 h 4492350"/>
                <a:gd name="connsiteX11-5003" fmla="*/ 1162773 w 3662637"/>
                <a:gd name="connsiteY11-5004" fmla="*/ 2026621 h 4492350"/>
                <a:gd name="connsiteX12-5005" fmla="*/ 1682742 w 3662637"/>
                <a:gd name="connsiteY12-5006" fmla="*/ 2194318 h 4492350"/>
                <a:gd name="connsiteX13-5007" fmla="*/ 1924493 w 3662637"/>
                <a:gd name="connsiteY13-5008" fmla="*/ 0 h 4492350"/>
                <a:gd name="connsiteX14-5009" fmla="*/ 1995936 w 3662637"/>
                <a:gd name="connsiteY14-5010" fmla="*/ 986216 h 4492350"/>
                <a:gd name="connsiteX15-5011" fmla="*/ 1850065 w 3662637"/>
                <a:gd name="connsiteY15-5012" fmla="*/ 2060385 h 4492350"/>
                <a:gd name="connsiteX16-5013" fmla="*/ 2025596 w 3662637"/>
                <a:gd name="connsiteY16-5014" fmla="*/ 3046321 h 4492350"/>
                <a:gd name="connsiteX17-5015" fmla="*/ 2615609 w 3662637"/>
                <a:gd name="connsiteY17-5016" fmla="*/ 2519916 h 4492350"/>
                <a:gd name="connsiteX18-5017" fmla="*/ 2881796 w 3662637"/>
                <a:gd name="connsiteY18-5018" fmla="*/ 1291762 h 4492350"/>
                <a:gd name="connsiteX19-5019" fmla="*/ 2774911 w 3662637"/>
                <a:gd name="connsiteY19-5020" fmla="*/ 2383091 h 4492350"/>
                <a:gd name="connsiteX20-5021" fmla="*/ 3662637 w 3662637"/>
                <a:gd name="connsiteY20-5022" fmla="*/ 1124252 h 4492350"/>
                <a:gd name="connsiteX21-5023" fmla="*/ 2190307 w 3662637"/>
                <a:gd name="connsiteY21-5024" fmla="*/ 3370521 h 4492350"/>
                <a:gd name="connsiteX22-5025" fmla="*/ 2137144 w 3662637"/>
                <a:gd name="connsiteY22-5026" fmla="*/ 3817088 h 4492350"/>
                <a:gd name="connsiteX23-5027" fmla="*/ 3285460 w 3662637"/>
                <a:gd name="connsiteY23-5028" fmla="*/ 3094074 h 4492350"/>
                <a:gd name="connsiteX24-5029" fmla="*/ 2162419 w 3662637"/>
                <a:gd name="connsiteY24-5030" fmla="*/ 4030951 h 4492350"/>
                <a:gd name="connsiteX25-5031" fmla="*/ 2200940 w 3662637"/>
                <a:gd name="connsiteY25-5032" fmla="*/ 4476307 h 4492350"/>
                <a:gd name="connsiteX26-5033" fmla="*/ 2186296 w 3662637"/>
                <a:gd name="connsiteY26-5034" fmla="*/ 4491415 h 4492350"/>
                <a:gd name="connsiteX27-5035" fmla="*/ 1711842 w 3662637"/>
                <a:gd name="connsiteY27-5036" fmla="*/ 4492350 h 4492350"/>
                <a:gd name="connsiteX0-5037" fmla="*/ 1711842 w 3662637"/>
                <a:gd name="connsiteY0-5038" fmla="*/ 4492350 h 4492350"/>
                <a:gd name="connsiteX1-5039" fmla="*/ 1765005 w 3662637"/>
                <a:gd name="connsiteY1-5040" fmla="*/ 3785190 h 4492350"/>
                <a:gd name="connsiteX2-5041" fmla="*/ 1275907 w 3662637"/>
                <a:gd name="connsiteY2-5042" fmla="*/ 3381153 h 4492350"/>
                <a:gd name="connsiteX3-5043" fmla="*/ 0 w 3662637"/>
                <a:gd name="connsiteY3-5044" fmla="*/ 2945218 h 4492350"/>
                <a:gd name="connsiteX4-5045" fmla="*/ 1095154 w 3662637"/>
                <a:gd name="connsiteY4-5046" fmla="*/ 3242930 h 4492350"/>
                <a:gd name="connsiteX5-5047" fmla="*/ 361507 w 3662637"/>
                <a:gd name="connsiteY5-5048" fmla="*/ 2456121 h 4492350"/>
                <a:gd name="connsiteX6-5049" fmla="*/ 1743740 w 3662637"/>
                <a:gd name="connsiteY6-5050" fmla="*/ 3519376 h 4492350"/>
                <a:gd name="connsiteX7-5051" fmla="*/ 1652058 w 3662637"/>
                <a:gd name="connsiteY7-5052" fmla="*/ 2400346 h 4492350"/>
                <a:gd name="connsiteX8-5053" fmla="*/ 8208 w 3662637"/>
                <a:gd name="connsiteY8-5054" fmla="*/ 750901 h 4492350"/>
                <a:gd name="connsiteX9-5055" fmla="*/ 956930 w 3662637"/>
                <a:gd name="connsiteY9-5056" fmla="*/ 1924493 h 4492350"/>
                <a:gd name="connsiteX10-5057" fmla="*/ 1061670 w 3662637"/>
                <a:gd name="connsiteY10-5058" fmla="*/ 857226 h 4492350"/>
                <a:gd name="connsiteX11-5059" fmla="*/ 1162773 w 3662637"/>
                <a:gd name="connsiteY11-5060" fmla="*/ 2026621 h 4492350"/>
                <a:gd name="connsiteX12-5061" fmla="*/ 1682742 w 3662637"/>
                <a:gd name="connsiteY12-5062" fmla="*/ 2194318 h 4492350"/>
                <a:gd name="connsiteX13-5063" fmla="*/ 1924493 w 3662637"/>
                <a:gd name="connsiteY13-5064" fmla="*/ 0 h 4492350"/>
                <a:gd name="connsiteX14-5065" fmla="*/ 1995936 w 3662637"/>
                <a:gd name="connsiteY14-5066" fmla="*/ 986216 h 4492350"/>
                <a:gd name="connsiteX15-5067" fmla="*/ 1850065 w 3662637"/>
                <a:gd name="connsiteY15-5068" fmla="*/ 2060385 h 4492350"/>
                <a:gd name="connsiteX16-5069" fmla="*/ 2025596 w 3662637"/>
                <a:gd name="connsiteY16-5070" fmla="*/ 3046321 h 4492350"/>
                <a:gd name="connsiteX17-5071" fmla="*/ 2615609 w 3662637"/>
                <a:gd name="connsiteY17-5072" fmla="*/ 2519916 h 4492350"/>
                <a:gd name="connsiteX18-5073" fmla="*/ 2881796 w 3662637"/>
                <a:gd name="connsiteY18-5074" fmla="*/ 1291762 h 4492350"/>
                <a:gd name="connsiteX19-5075" fmla="*/ 2774911 w 3662637"/>
                <a:gd name="connsiteY19-5076" fmla="*/ 2383091 h 4492350"/>
                <a:gd name="connsiteX20-5077" fmla="*/ 3662637 w 3662637"/>
                <a:gd name="connsiteY20-5078" fmla="*/ 1124252 h 4492350"/>
                <a:gd name="connsiteX21-5079" fmla="*/ 2190307 w 3662637"/>
                <a:gd name="connsiteY21-5080" fmla="*/ 3370521 h 4492350"/>
                <a:gd name="connsiteX22-5081" fmla="*/ 2137144 w 3662637"/>
                <a:gd name="connsiteY22-5082" fmla="*/ 3817088 h 4492350"/>
                <a:gd name="connsiteX23-5083" fmla="*/ 3285460 w 3662637"/>
                <a:gd name="connsiteY23-5084" fmla="*/ 3094074 h 4492350"/>
                <a:gd name="connsiteX24-5085" fmla="*/ 2162419 w 3662637"/>
                <a:gd name="connsiteY24-5086" fmla="*/ 4030951 h 4492350"/>
                <a:gd name="connsiteX25-5087" fmla="*/ 2200940 w 3662637"/>
                <a:gd name="connsiteY25-5088" fmla="*/ 4476307 h 4492350"/>
                <a:gd name="connsiteX26-5089" fmla="*/ 2186296 w 3662637"/>
                <a:gd name="connsiteY26-5090" fmla="*/ 4491415 h 4492350"/>
                <a:gd name="connsiteX27-5091" fmla="*/ 1711842 w 3662637"/>
                <a:gd name="connsiteY27-5092" fmla="*/ 4492350 h 4492350"/>
                <a:gd name="connsiteX0-5093" fmla="*/ 1711842 w 3662637"/>
                <a:gd name="connsiteY0-5094" fmla="*/ 4492350 h 4492350"/>
                <a:gd name="connsiteX1-5095" fmla="*/ 1765005 w 3662637"/>
                <a:gd name="connsiteY1-5096" fmla="*/ 3785190 h 4492350"/>
                <a:gd name="connsiteX2-5097" fmla="*/ 1275907 w 3662637"/>
                <a:gd name="connsiteY2-5098" fmla="*/ 3381153 h 4492350"/>
                <a:gd name="connsiteX3-5099" fmla="*/ 0 w 3662637"/>
                <a:gd name="connsiteY3-5100" fmla="*/ 2945218 h 4492350"/>
                <a:gd name="connsiteX4-5101" fmla="*/ 1095154 w 3662637"/>
                <a:gd name="connsiteY4-5102" fmla="*/ 3242930 h 4492350"/>
                <a:gd name="connsiteX5-5103" fmla="*/ 361507 w 3662637"/>
                <a:gd name="connsiteY5-5104" fmla="*/ 2456121 h 4492350"/>
                <a:gd name="connsiteX6-5105" fmla="*/ 1743740 w 3662637"/>
                <a:gd name="connsiteY6-5106" fmla="*/ 3519376 h 4492350"/>
                <a:gd name="connsiteX7-5107" fmla="*/ 1652058 w 3662637"/>
                <a:gd name="connsiteY7-5108" fmla="*/ 2400346 h 4492350"/>
                <a:gd name="connsiteX8-5109" fmla="*/ 8208 w 3662637"/>
                <a:gd name="connsiteY8-5110" fmla="*/ 750901 h 4492350"/>
                <a:gd name="connsiteX9-5111" fmla="*/ 956930 w 3662637"/>
                <a:gd name="connsiteY9-5112" fmla="*/ 1924493 h 4492350"/>
                <a:gd name="connsiteX10-5113" fmla="*/ 1061670 w 3662637"/>
                <a:gd name="connsiteY10-5114" fmla="*/ 857226 h 4492350"/>
                <a:gd name="connsiteX11-5115" fmla="*/ 1162773 w 3662637"/>
                <a:gd name="connsiteY11-5116" fmla="*/ 2026621 h 4492350"/>
                <a:gd name="connsiteX12-5117" fmla="*/ 1682742 w 3662637"/>
                <a:gd name="connsiteY12-5118" fmla="*/ 2194318 h 4492350"/>
                <a:gd name="connsiteX13-5119" fmla="*/ 1924493 w 3662637"/>
                <a:gd name="connsiteY13-5120" fmla="*/ 0 h 4492350"/>
                <a:gd name="connsiteX14-5121" fmla="*/ 1995936 w 3662637"/>
                <a:gd name="connsiteY14-5122" fmla="*/ 986216 h 4492350"/>
                <a:gd name="connsiteX15-5123" fmla="*/ 1850065 w 3662637"/>
                <a:gd name="connsiteY15-5124" fmla="*/ 2060385 h 4492350"/>
                <a:gd name="connsiteX16-5125" fmla="*/ 2025596 w 3662637"/>
                <a:gd name="connsiteY16-5126" fmla="*/ 3046321 h 4492350"/>
                <a:gd name="connsiteX17-5127" fmla="*/ 2615609 w 3662637"/>
                <a:gd name="connsiteY17-5128" fmla="*/ 2519916 h 4492350"/>
                <a:gd name="connsiteX18-5129" fmla="*/ 2881796 w 3662637"/>
                <a:gd name="connsiteY18-5130" fmla="*/ 1291762 h 4492350"/>
                <a:gd name="connsiteX19-5131" fmla="*/ 2774911 w 3662637"/>
                <a:gd name="connsiteY19-5132" fmla="*/ 2383091 h 4492350"/>
                <a:gd name="connsiteX20-5133" fmla="*/ 3662637 w 3662637"/>
                <a:gd name="connsiteY20-5134" fmla="*/ 1124252 h 4492350"/>
                <a:gd name="connsiteX21-5135" fmla="*/ 2190307 w 3662637"/>
                <a:gd name="connsiteY21-5136" fmla="*/ 3370521 h 4492350"/>
                <a:gd name="connsiteX22-5137" fmla="*/ 2137144 w 3662637"/>
                <a:gd name="connsiteY22-5138" fmla="*/ 3817088 h 4492350"/>
                <a:gd name="connsiteX23-5139" fmla="*/ 3285460 w 3662637"/>
                <a:gd name="connsiteY23-5140" fmla="*/ 3094074 h 4492350"/>
                <a:gd name="connsiteX24-5141" fmla="*/ 2162419 w 3662637"/>
                <a:gd name="connsiteY24-5142" fmla="*/ 4030951 h 4492350"/>
                <a:gd name="connsiteX25-5143" fmla="*/ 2200940 w 3662637"/>
                <a:gd name="connsiteY25-5144" fmla="*/ 4476307 h 4492350"/>
                <a:gd name="connsiteX26-5145" fmla="*/ 2186296 w 3662637"/>
                <a:gd name="connsiteY26-5146" fmla="*/ 4491415 h 4492350"/>
                <a:gd name="connsiteX27-5147" fmla="*/ 1711842 w 3662637"/>
                <a:gd name="connsiteY27-5148" fmla="*/ 4492350 h 4492350"/>
                <a:gd name="connsiteX0-5149" fmla="*/ 1711842 w 3662637"/>
                <a:gd name="connsiteY0-5150" fmla="*/ 4492350 h 4492350"/>
                <a:gd name="connsiteX1-5151" fmla="*/ 1765005 w 3662637"/>
                <a:gd name="connsiteY1-5152" fmla="*/ 3785190 h 4492350"/>
                <a:gd name="connsiteX2-5153" fmla="*/ 1275907 w 3662637"/>
                <a:gd name="connsiteY2-5154" fmla="*/ 3381153 h 4492350"/>
                <a:gd name="connsiteX3-5155" fmla="*/ 0 w 3662637"/>
                <a:gd name="connsiteY3-5156" fmla="*/ 2945218 h 4492350"/>
                <a:gd name="connsiteX4-5157" fmla="*/ 1095154 w 3662637"/>
                <a:gd name="connsiteY4-5158" fmla="*/ 3242930 h 4492350"/>
                <a:gd name="connsiteX5-5159" fmla="*/ 361507 w 3662637"/>
                <a:gd name="connsiteY5-5160" fmla="*/ 2456121 h 4492350"/>
                <a:gd name="connsiteX6-5161" fmla="*/ 1743740 w 3662637"/>
                <a:gd name="connsiteY6-5162" fmla="*/ 3519376 h 4492350"/>
                <a:gd name="connsiteX7-5163" fmla="*/ 1652058 w 3662637"/>
                <a:gd name="connsiteY7-5164" fmla="*/ 2400346 h 4492350"/>
                <a:gd name="connsiteX8-5165" fmla="*/ 8208 w 3662637"/>
                <a:gd name="connsiteY8-5166" fmla="*/ 750901 h 4492350"/>
                <a:gd name="connsiteX9-5167" fmla="*/ 956930 w 3662637"/>
                <a:gd name="connsiteY9-5168" fmla="*/ 1924493 h 4492350"/>
                <a:gd name="connsiteX10-5169" fmla="*/ 1061670 w 3662637"/>
                <a:gd name="connsiteY10-5170" fmla="*/ 857226 h 4492350"/>
                <a:gd name="connsiteX11-5171" fmla="*/ 1162773 w 3662637"/>
                <a:gd name="connsiteY11-5172" fmla="*/ 2026621 h 4492350"/>
                <a:gd name="connsiteX12-5173" fmla="*/ 1682742 w 3662637"/>
                <a:gd name="connsiteY12-5174" fmla="*/ 2194318 h 4492350"/>
                <a:gd name="connsiteX13-5175" fmla="*/ 1924493 w 3662637"/>
                <a:gd name="connsiteY13-5176" fmla="*/ 0 h 4492350"/>
                <a:gd name="connsiteX14-5177" fmla="*/ 1995936 w 3662637"/>
                <a:gd name="connsiteY14-5178" fmla="*/ 986216 h 4492350"/>
                <a:gd name="connsiteX15-5179" fmla="*/ 1850065 w 3662637"/>
                <a:gd name="connsiteY15-5180" fmla="*/ 2060385 h 4492350"/>
                <a:gd name="connsiteX16-5181" fmla="*/ 2025596 w 3662637"/>
                <a:gd name="connsiteY16-5182" fmla="*/ 3046321 h 4492350"/>
                <a:gd name="connsiteX17-5183" fmla="*/ 2615609 w 3662637"/>
                <a:gd name="connsiteY17-5184" fmla="*/ 2519916 h 4492350"/>
                <a:gd name="connsiteX18-5185" fmla="*/ 2881796 w 3662637"/>
                <a:gd name="connsiteY18-5186" fmla="*/ 1291762 h 4492350"/>
                <a:gd name="connsiteX19-5187" fmla="*/ 2774911 w 3662637"/>
                <a:gd name="connsiteY19-5188" fmla="*/ 2383091 h 4492350"/>
                <a:gd name="connsiteX20-5189" fmla="*/ 3662637 w 3662637"/>
                <a:gd name="connsiteY20-5190" fmla="*/ 1124252 h 4492350"/>
                <a:gd name="connsiteX21-5191" fmla="*/ 2190307 w 3662637"/>
                <a:gd name="connsiteY21-5192" fmla="*/ 3370521 h 4492350"/>
                <a:gd name="connsiteX22-5193" fmla="*/ 2137144 w 3662637"/>
                <a:gd name="connsiteY22-5194" fmla="*/ 3817088 h 4492350"/>
                <a:gd name="connsiteX23-5195" fmla="*/ 3285460 w 3662637"/>
                <a:gd name="connsiteY23-5196" fmla="*/ 3094074 h 4492350"/>
                <a:gd name="connsiteX24-5197" fmla="*/ 2162419 w 3662637"/>
                <a:gd name="connsiteY24-5198" fmla="*/ 4030951 h 4492350"/>
                <a:gd name="connsiteX25-5199" fmla="*/ 2200940 w 3662637"/>
                <a:gd name="connsiteY25-5200" fmla="*/ 4476307 h 4492350"/>
                <a:gd name="connsiteX26-5201" fmla="*/ 2186296 w 3662637"/>
                <a:gd name="connsiteY26-5202" fmla="*/ 4491415 h 4492350"/>
                <a:gd name="connsiteX27-5203" fmla="*/ 1711842 w 3662637"/>
                <a:gd name="connsiteY27-5204" fmla="*/ 4492350 h 4492350"/>
                <a:gd name="connsiteX0-5205" fmla="*/ 1711842 w 3662637"/>
                <a:gd name="connsiteY0-5206" fmla="*/ 4492350 h 4492350"/>
                <a:gd name="connsiteX1-5207" fmla="*/ 1765005 w 3662637"/>
                <a:gd name="connsiteY1-5208" fmla="*/ 3785190 h 4492350"/>
                <a:gd name="connsiteX2-5209" fmla="*/ 1275907 w 3662637"/>
                <a:gd name="connsiteY2-5210" fmla="*/ 3381153 h 4492350"/>
                <a:gd name="connsiteX3-5211" fmla="*/ 0 w 3662637"/>
                <a:gd name="connsiteY3-5212" fmla="*/ 2945218 h 4492350"/>
                <a:gd name="connsiteX4-5213" fmla="*/ 1095154 w 3662637"/>
                <a:gd name="connsiteY4-5214" fmla="*/ 3242930 h 4492350"/>
                <a:gd name="connsiteX5-5215" fmla="*/ 361507 w 3662637"/>
                <a:gd name="connsiteY5-5216" fmla="*/ 2456121 h 4492350"/>
                <a:gd name="connsiteX6-5217" fmla="*/ 1743740 w 3662637"/>
                <a:gd name="connsiteY6-5218" fmla="*/ 3519376 h 4492350"/>
                <a:gd name="connsiteX7-5219" fmla="*/ 1652058 w 3662637"/>
                <a:gd name="connsiteY7-5220" fmla="*/ 2400346 h 4492350"/>
                <a:gd name="connsiteX8-5221" fmla="*/ 8208 w 3662637"/>
                <a:gd name="connsiteY8-5222" fmla="*/ 750901 h 4492350"/>
                <a:gd name="connsiteX9-5223" fmla="*/ 956930 w 3662637"/>
                <a:gd name="connsiteY9-5224" fmla="*/ 1924493 h 4492350"/>
                <a:gd name="connsiteX10-5225" fmla="*/ 1061670 w 3662637"/>
                <a:gd name="connsiteY10-5226" fmla="*/ 857226 h 4492350"/>
                <a:gd name="connsiteX11-5227" fmla="*/ 1162773 w 3662637"/>
                <a:gd name="connsiteY11-5228" fmla="*/ 2026621 h 4492350"/>
                <a:gd name="connsiteX12-5229" fmla="*/ 1682742 w 3662637"/>
                <a:gd name="connsiteY12-5230" fmla="*/ 2194318 h 4492350"/>
                <a:gd name="connsiteX13-5231" fmla="*/ 1924493 w 3662637"/>
                <a:gd name="connsiteY13-5232" fmla="*/ 0 h 4492350"/>
                <a:gd name="connsiteX14-5233" fmla="*/ 1995936 w 3662637"/>
                <a:gd name="connsiteY14-5234" fmla="*/ 986216 h 4492350"/>
                <a:gd name="connsiteX15-5235" fmla="*/ 1850065 w 3662637"/>
                <a:gd name="connsiteY15-5236" fmla="*/ 2060385 h 4492350"/>
                <a:gd name="connsiteX16-5237" fmla="*/ 2025596 w 3662637"/>
                <a:gd name="connsiteY16-5238" fmla="*/ 3046321 h 4492350"/>
                <a:gd name="connsiteX17-5239" fmla="*/ 2615609 w 3662637"/>
                <a:gd name="connsiteY17-5240" fmla="*/ 2519916 h 4492350"/>
                <a:gd name="connsiteX18-5241" fmla="*/ 2881796 w 3662637"/>
                <a:gd name="connsiteY18-5242" fmla="*/ 1291762 h 4492350"/>
                <a:gd name="connsiteX19-5243" fmla="*/ 2774911 w 3662637"/>
                <a:gd name="connsiteY19-5244" fmla="*/ 2383091 h 4492350"/>
                <a:gd name="connsiteX20-5245" fmla="*/ 3662637 w 3662637"/>
                <a:gd name="connsiteY20-5246" fmla="*/ 1124252 h 4492350"/>
                <a:gd name="connsiteX21-5247" fmla="*/ 2190307 w 3662637"/>
                <a:gd name="connsiteY21-5248" fmla="*/ 3370521 h 4492350"/>
                <a:gd name="connsiteX22-5249" fmla="*/ 2137144 w 3662637"/>
                <a:gd name="connsiteY22-5250" fmla="*/ 3817088 h 4492350"/>
                <a:gd name="connsiteX23-5251" fmla="*/ 3285460 w 3662637"/>
                <a:gd name="connsiteY23-5252" fmla="*/ 3094074 h 4492350"/>
                <a:gd name="connsiteX24-5253" fmla="*/ 2162419 w 3662637"/>
                <a:gd name="connsiteY24-5254" fmla="*/ 4030951 h 4492350"/>
                <a:gd name="connsiteX25-5255" fmla="*/ 2200940 w 3662637"/>
                <a:gd name="connsiteY25-5256" fmla="*/ 4476307 h 4492350"/>
                <a:gd name="connsiteX26-5257" fmla="*/ 2186296 w 3662637"/>
                <a:gd name="connsiteY26-5258" fmla="*/ 4491415 h 4492350"/>
                <a:gd name="connsiteX27-5259" fmla="*/ 1711842 w 3662637"/>
                <a:gd name="connsiteY27-5260" fmla="*/ 4492350 h 4492350"/>
                <a:gd name="connsiteX0-5261" fmla="*/ 1711842 w 3662637"/>
                <a:gd name="connsiteY0-5262" fmla="*/ 4492350 h 4492350"/>
                <a:gd name="connsiteX1-5263" fmla="*/ 1765005 w 3662637"/>
                <a:gd name="connsiteY1-5264" fmla="*/ 3785190 h 4492350"/>
                <a:gd name="connsiteX2-5265" fmla="*/ 1275907 w 3662637"/>
                <a:gd name="connsiteY2-5266" fmla="*/ 3381153 h 4492350"/>
                <a:gd name="connsiteX3-5267" fmla="*/ 0 w 3662637"/>
                <a:gd name="connsiteY3-5268" fmla="*/ 2945218 h 4492350"/>
                <a:gd name="connsiteX4-5269" fmla="*/ 1095154 w 3662637"/>
                <a:gd name="connsiteY4-5270" fmla="*/ 3242930 h 4492350"/>
                <a:gd name="connsiteX5-5271" fmla="*/ 361507 w 3662637"/>
                <a:gd name="connsiteY5-5272" fmla="*/ 2456121 h 4492350"/>
                <a:gd name="connsiteX6-5273" fmla="*/ 1743740 w 3662637"/>
                <a:gd name="connsiteY6-5274" fmla="*/ 3519376 h 4492350"/>
                <a:gd name="connsiteX7-5275" fmla="*/ 1652058 w 3662637"/>
                <a:gd name="connsiteY7-5276" fmla="*/ 2400346 h 4492350"/>
                <a:gd name="connsiteX8-5277" fmla="*/ 28261 w 3662637"/>
                <a:gd name="connsiteY8-5278" fmla="*/ 742880 h 4492350"/>
                <a:gd name="connsiteX9-5279" fmla="*/ 956930 w 3662637"/>
                <a:gd name="connsiteY9-5280" fmla="*/ 1924493 h 4492350"/>
                <a:gd name="connsiteX10-5281" fmla="*/ 1061670 w 3662637"/>
                <a:gd name="connsiteY10-5282" fmla="*/ 857226 h 4492350"/>
                <a:gd name="connsiteX11-5283" fmla="*/ 1162773 w 3662637"/>
                <a:gd name="connsiteY11-5284" fmla="*/ 2026621 h 4492350"/>
                <a:gd name="connsiteX12-5285" fmla="*/ 1682742 w 3662637"/>
                <a:gd name="connsiteY12-5286" fmla="*/ 2194318 h 4492350"/>
                <a:gd name="connsiteX13-5287" fmla="*/ 1924493 w 3662637"/>
                <a:gd name="connsiteY13-5288" fmla="*/ 0 h 4492350"/>
                <a:gd name="connsiteX14-5289" fmla="*/ 1995936 w 3662637"/>
                <a:gd name="connsiteY14-5290" fmla="*/ 986216 h 4492350"/>
                <a:gd name="connsiteX15-5291" fmla="*/ 1850065 w 3662637"/>
                <a:gd name="connsiteY15-5292" fmla="*/ 2060385 h 4492350"/>
                <a:gd name="connsiteX16-5293" fmla="*/ 2025596 w 3662637"/>
                <a:gd name="connsiteY16-5294" fmla="*/ 3046321 h 4492350"/>
                <a:gd name="connsiteX17-5295" fmla="*/ 2615609 w 3662637"/>
                <a:gd name="connsiteY17-5296" fmla="*/ 2519916 h 4492350"/>
                <a:gd name="connsiteX18-5297" fmla="*/ 2881796 w 3662637"/>
                <a:gd name="connsiteY18-5298" fmla="*/ 1291762 h 4492350"/>
                <a:gd name="connsiteX19-5299" fmla="*/ 2774911 w 3662637"/>
                <a:gd name="connsiteY19-5300" fmla="*/ 2383091 h 4492350"/>
                <a:gd name="connsiteX20-5301" fmla="*/ 3662637 w 3662637"/>
                <a:gd name="connsiteY20-5302" fmla="*/ 1124252 h 4492350"/>
                <a:gd name="connsiteX21-5303" fmla="*/ 2190307 w 3662637"/>
                <a:gd name="connsiteY21-5304" fmla="*/ 3370521 h 4492350"/>
                <a:gd name="connsiteX22-5305" fmla="*/ 2137144 w 3662637"/>
                <a:gd name="connsiteY22-5306" fmla="*/ 3817088 h 4492350"/>
                <a:gd name="connsiteX23-5307" fmla="*/ 3285460 w 3662637"/>
                <a:gd name="connsiteY23-5308" fmla="*/ 3094074 h 4492350"/>
                <a:gd name="connsiteX24-5309" fmla="*/ 2162419 w 3662637"/>
                <a:gd name="connsiteY24-5310" fmla="*/ 4030951 h 4492350"/>
                <a:gd name="connsiteX25-5311" fmla="*/ 2200940 w 3662637"/>
                <a:gd name="connsiteY25-5312" fmla="*/ 4476307 h 4492350"/>
                <a:gd name="connsiteX26-5313" fmla="*/ 2186296 w 3662637"/>
                <a:gd name="connsiteY26-5314" fmla="*/ 4491415 h 4492350"/>
                <a:gd name="connsiteX27-5315" fmla="*/ 1711842 w 3662637"/>
                <a:gd name="connsiteY27-5316" fmla="*/ 4492350 h 4492350"/>
                <a:gd name="connsiteX0-5317" fmla="*/ 1711842 w 3662637"/>
                <a:gd name="connsiteY0-5318" fmla="*/ 4492350 h 4492350"/>
                <a:gd name="connsiteX1-5319" fmla="*/ 1765005 w 3662637"/>
                <a:gd name="connsiteY1-5320" fmla="*/ 3785190 h 4492350"/>
                <a:gd name="connsiteX2-5321" fmla="*/ 1275907 w 3662637"/>
                <a:gd name="connsiteY2-5322" fmla="*/ 3381153 h 4492350"/>
                <a:gd name="connsiteX3-5323" fmla="*/ 0 w 3662637"/>
                <a:gd name="connsiteY3-5324" fmla="*/ 2945218 h 4492350"/>
                <a:gd name="connsiteX4-5325" fmla="*/ 1095154 w 3662637"/>
                <a:gd name="connsiteY4-5326" fmla="*/ 3242930 h 4492350"/>
                <a:gd name="connsiteX5-5327" fmla="*/ 361507 w 3662637"/>
                <a:gd name="connsiteY5-5328" fmla="*/ 2456121 h 4492350"/>
                <a:gd name="connsiteX6-5329" fmla="*/ 1743740 w 3662637"/>
                <a:gd name="connsiteY6-5330" fmla="*/ 3519376 h 4492350"/>
                <a:gd name="connsiteX7-5331" fmla="*/ 1652058 w 3662637"/>
                <a:gd name="connsiteY7-5332" fmla="*/ 2400346 h 4492350"/>
                <a:gd name="connsiteX8-5333" fmla="*/ 28261 w 3662637"/>
                <a:gd name="connsiteY8-5334" fmla="*/ 742880 h 4492350"/>
                <a:gd name="connsiteX9-5335" fmla="*/ 956930 w 3662637"/>
                <a:gd name="connsiteY9-5336" fmla="*/ 1924493 h 4492350"/>
                <a:gd name="connsiteX10-5337" fmla="*/ 1061670 w 3662637"/>
                <a:gd name="connsiteY10-5338" fmla="*/ 857226 h 4492350"/>
                <a:gd name="connsiteX11-5339" fmla="*/ 1162773 w 3662637"/>
                <a:gd name="connsiteY11-5340" fmla="*/ 2026621 h 4492350"/>
                <a:gd name="connsiteX12-5341" fmla="*/ 1682742 w 3662637"/>
                <a:gd name="connsiteY12-5342" fmla="*/ 2194318 h 4492350"/>
                <a:gd name="connsiteX13-5343" fmla="*/ 1924493 w 3662637"/>
                <a:gd name="connsiteY13-5344" fmla="*/ 0 h 4492350"/>
                <a:gd name="connsiteX14-5345" fmla="*/ 1995936 w 3662637"/>
                <a:gd name="connsiteY14-5346" fmla="*/ 986216 h 4492350"/>
                <a:gd name="connsiteX15-5347" fmla="*/ 1850065 w 3662637"/>
                <a:gd name="connsiteY15-5348" fmla="*/ 2060385 h 4492350"/>
                <a:gd name="connsiteX16-5349" fmla="*/ 2025596 w 3662637"/>
                <a:gd name="connsiteY16-5350" fmla="*/ 3046321 h 4492350"/>
                <a:gd name="connsiteX17-5351" fmla="*/ 2615609 w 3662637"/>
                <a:gd name="connsiteY17-5352" fmla="*/ 2519916 h 4492350"/>
                <a:gd name="connsiteX18-5353" fmla="*/ 2881796 w 3662637"/>
                <a:gd name="connsiteY18-5354" fmla="*/ 1291762 h 4492350"/>
                <a:gd name="connsiteX19-5355" fmla="*/ 2774911 w 3662637"/>
                <a:gd name="connsiteY19-5356" fmla="*/ 2383091 h 4492350"/>
                <a:gd name="connsiteX20-5357" fmla="*/ 3662637 w 3662637"/>
                <a:gd name="connsiteY20-5358" fmla="*/ 1124252 h 4492350"/>
                <a:gd name="connsiteX21-5359" fmla="*/ 2190307 w 3662637"/>
                <a:gd name="connsiteY21-5360" fmla="*/ 3370521 h 4492350"/>
                <a:gd name="connsiteX22-5361" fmla="*/ 2137144 w 3662637"/>
                <a:gd name="connsiteY22-5362" fmla="*/ 3817088 h 4492350"/>
                <a:gd name="connsiteX23-5363" fmla="*/ 3285460 w 3662637"/>
                <a:gd name="connsiteY23-5364" fmla="*/ 3094074 h 4492350"/>
                <a:gd name="connsiteX24-5365" fmla="*/ 2162419 w 3662637"/>
                <a:gd name="connsiteY24-5366" fmla="*/ 4030951 h 4492350"/>
                <a:gd name="connsiteX25-5367" fmla="*/ 2200940 w 3662637"/>
                <a:gd name="connsiteY25-5368" fmla="*/ 4476307 h 4492350"/>
                <a:gd name="connsiteX26-5369" fmla="*/ 2186296 w 3662637"/>
                <a:gd name="connsiteY26-5370" fmla="*/ 4491415 h 4492350"/>
                <a:gd name="connsiteX27-5371" fmla="*/ 1711842 w 3662637"/>
                <a:gd name="connsiteY27-5372" fmla="*/ 4492350 h 4492350"/>
                <a:gd name="connsiteX0-5373" fmla="*/ 1711842 w 3662637"/>
                <a:gd name="connsiteY0-5374" fmla="*/ 4492350 h 4492350"/>
                <a:gd name="connsiteX1-5375" fmla="*/ 1765005 w 3662637"/>
                <a:gd name="connsiteY1-5376" fmla="*/ 3785190 h 4492350"/>
                <a:gd name="connsiteX2-5377" fmla="*/ 1275907 w 3662637"/>
                <a:gd name="connsiteY2-5378" fmla="*/ 3381153 h 4492350"/>
                <a:gd name="connsiteX3-5379" fmla="*/ 0 w 3662637"/>
                <a:gd name="connsiteY3-5380" fmla="*/ 2945218 h 4492350"/>
                <a:gd name="connsiteX4-5381" fmla="*/ 1095154 w 3662637"/>
                <a:gd name="connsiteY4-5382" fmla="*/ 3242930 h 4492350"/>
                <a:gd name="connsiteX5-5383" fmla="*/ 361507 w 3662637"/>
                <a:gd name="connsiteY5-5384" fmla="*/ 2456121 h 4492350"/>
                <a:gd name="connsiteX6-5385" fmla="*/ 1743740 w 3662637"/>
                <a:gd name="connsiteY6-5386" fmla="*/ 3519376 h 4492350"/>
                <a:gd name="connsiteX7-5387" fmla="*/ 1652058 w 3662637"/>
                <a:gd name="connsiteY7-5388" fmla="*/ 2400346 h 4492350"/>
                <a:gd name="connsiteX8-5389" fmla="*/ 28261 w 3662637"/>
                <a:gd name="connsiteY8-5390" fmla="*/ 742880 h 4492350"/>
                <a:gd name="connsiteX9-5391" fmla="*/ 956930 w 3662637"/>
                <a:gd name="connsiteY9-5392" fmla="*/ 1924493 h 4492350"/>
                <a:gd name="connsiteX10-5393" fmla="*/ 1061670 w 3662637"/>
                <a:gd name="connsiteY10-5394" fmla="*/ 857226 h 4492350"/>
                <a:gd name="connsiteX11-5395" fmla="*/ 1162773 w 3662637"/>
                <a:gd name="connsiteY11-5396" fmla="*/ 2026621 h 4492350"/>
                <a:gd name="connsiteX12-5397" fmla="*/ 1682742 w 3662637"/>
                <a:gd name="connsiteY12-5398" fmla="*/ 2194318 h 4492350"/>
                <a:gd name="connsiteX13-5399" fmla="*/ 1924493 w 3662637"/>
                <a:gd name="connsiteY13-5400" fmla="*/ 0 h 4492350"/>
                <a:gd name="connsiteX14-5401" fmla="*/ 1995936 w 3662637"/>
                <a:gd name="connsiteY14-5402" fmla="*/ 986216 h 4492350"/>
                <a:gd name="connsiteX15-5403" fmla="*/ 1850065 w 3662637"/>
                <a:gd name="connsiteY15-5404" fmla="*/ 2060385 h 4492350"/>
                <a:gd name="connsiteX16-5405" fmla="*/ 2025596 w 3662637"/>
                <a:gd name="connsiteY16-5406" fmla="*/ 3046321 h 4492350"/>
                <a:gd name="connsiteX17-5407" fmla="*/ 2615609 w 3662637"/>
                <a:gd name="connsiteY17-5408" fmla="*/ 2519916 h 4492350"/>
                <a:gd name="connsiteX18-5409" fmla="*/ 2881796 w 3662637"/>
                <a:gd name="connsiteY18-5410" fmla="*/ 1291762 h 4492350"/>
                <a:gd name="connsiteX19-5411" fmla="*/ 2774911 w 3662637"/>
                <a:gd name="connsiteY19-5412" fmla="*/ 2383091 h 4492350"/>
                <a:gd name="connsiteX20-5413" fmla="*/ 3662637 w 3662637"/>
                <a:gd name="connsiteY20-5414" fmla="*/ 1124252 h 4492350"/>
                <a:gd name="connsiteX21-5415" fmla="*/ 2190307 w 3662637"/>
                <a:gd name="connsiteY21-5416" fmla="*/ 3370521 h 4492350"/>
                <a:gd name="connsiteX22-5417" fmla="*/ 2137144 w 3662637"/>
                <a:gd name="connsiteY22-5418" fmla="*/ 3817088 h 4492350"/>
                <a:gd name="connsiteX23-5419" fmla="*/ 3285460 w 3662637"/>
                <a:gd name="connsiteY23-5420" fmla="*/ 3094074 h 4492350"/>
                <a:gd name="connsiteX24-5421" fmla="*/ 2162419 w 3662637"/>
                <a:gd name="connsiteY24-5422" fmla="*/ 4030951 h 4492350"/>
                <a:gd name="connsiteX25-5423" fmla="*/ 2200940 w 3662637"/>
                <a:gd name="connsiteY25-5424" fmla="*/ 4476307 h 4492350"/>
                <a:gd name="connsiteX26-5425" fmla="*/ 2186296 w 3662637"/>
                <a:gd name="connsiteY26-5426" fmla="*/ 4491415 h 4492350"/>
                <a:gd name="connsiteX27-5427" fmla="*/ 1711842 w 3662637"/>
                <a:gd name="connsiteY27-5428" fmla="*/ 4492350 h 4492350"/>
                <a:gd name="connsiteX0-5429" fmla="*/ 1711842 w 3662637"/>
                <a:gd name="connsiteY0-5430" fmla="*/ 4492350 h 4492350"/>
                <a:gd name="connsiteX1-5431" fmla="*/ 1765005 w 3662637"/>
                <a:gd name="connsiteY1-5432" fmla="*/ 3785190 h 4492350"/>
                <a:gd name="connsiteX2-5433" fmla="*/ 1275907 w 3662637"/>
                <a:gd name="connsiteY2-5434" fmla="*/ 3381153 h 4492350"/>
                <a:gd name="connsiteX3-5435" fmla="*/ 0 w 3662637"/>
                <a:gd name="connsiteY3-5436" fmla="*/ 2945218 h 4492350"/>
                <a:gd name="connsiteX4-5437" fmla="*/ 1095154 w 3662637"/>
                <a:gd name="connsiteY4-5438" fmla="*/ 3242930 h 4492350"/>
                <a:gd name="connsiteX5-5439" fmla="*/ 361507 w 3662637"/>
                <a:gd name="connsiteY5-5440" fmla="*/ 2456121 h 4492350"/>
                <a:gd name="connsiteX6-5441" fmla="*/ 1743740 w 3662637"/>
                <a:gd name="connsiteY6-5442" fmla="*/ 3519376 h 4492350"/>
                <a:gd name="connsiteX7-5443" fmla="*/ 1652058 w 3662637"/>
                <a:gd name="connsiteY7-5444" fmla="*/ 2400346 h 4492350"/>
                <a:gd name="connsiteX8-5445" fmla="*/ 28261 w 3662637"/>
                <a:gd name="connsiteY8-5446" fmla="*/ 742880 h 4492350"/>
                <a:gd name="connsiteX9-5447" fmla="*/ 956930 w 3662637"/>
                <a:gd name="connsiteY9-5448" fmla="*/ 1924493 h 4492350"/>
                <a:gd name="connsiteX10-5449" fmla="*/ 1061670 w 3662637"/>
                <a:gd name="connsiteY10-5450" fmla="*/ 857226 h 4492350"/>
                <a:gd name="connsiteX11-5451" fmla="*/ 1162773 w 3662637"/>
                <a:gd name="connsiteY11-5452" fmla="*/ 2026621 h 4492350"/>
                <a:gd name="connsiteX12-5453" fmla="*/ 1682742 w 3662637"/>
                <a:gd name="connsiteY12-5454" fmla="*/ 2194318 h 4492350"/>
                <a:gd name="connsiteX13-5455" fmla="*/ 1924493 w 3662637"/>
                <a:gd name="connsiteY13-5456" fmla="*/ 0 h 4492350"/>
                <a:gd name="connsiteX14-5457" fmla="*/ 1995936 w 3662637"/>
                <a:gd name="connsiteY14-5458" fmla="*/ 986216 h 4492350"/>
                <a:gd name="connsiteX15-5459" fmla="*/ 1850065 w 3662637"/>
                <a:gd name="connsiteY15-5460" fmla="*/ 2060385 h 4492350"/>
                <a:gd name="connsiteX16-5461" fmla="*/ 2025596 w 3662637"/>
                <a:gd name="connsiteY16-5462" fmla="*/ 3046321 h 4492350"/>
                <a:gd name="connsiteX17-5463" fmla="*/ 2615609 w 3662637"/>
                <a:gd name="connsiteY17-5464" fmla="*/ 2519916 h 4492350"/>
                <a:gd name="connsiteX18-5465" fmla="*/ 2881796 w 3662637"/>
                <a:gd name="connsiteY18-5466" fmla="*/ 1291762 h 4492350"/>
                <a:gd name="connsiteX19-5467" fmla="*/ 2774911 w 3662637"/>
                <a:gd name="connsiteY19-5468" fmla="*/ 2383091 h 4492350"/>
                <a:gd name="connsiteX20-5469" fmla="*/ 3662637 w 3662637"/>
                <a:gd name="connsiteY20-5470" fmla="*/ 1124252 h 4492350"/>
                <a:gd name="connsiteX21-5471" fmla="*/ 2190307 w 3662637"/>
                <a:gd name="connsiteY21-5472" fmla="*/ 3370521 h 4492350"/>
                <a:gd name="connsiteX22-5473" fmla="*/ 2137144 w 3662637"/>
                <a:gd name="connsiteY22-5474" fmla="*/ 3817088 h 4492350"/>
                <a:gd name="connsiteX23-5475" fmla="*/ 3285460 w 3662637"/>
                <a:gd name="connsiteY23-5476" fmla="*/ 3094074 h 4492350"/>
                <a:gd name="connsiteX24-5477" fmla="*/ 2162419 w 3662637"/>
                <a:gd name="connsiteY24-5478" fmla="*/ 4030951 h 4492350"/>
                <a:gd name="connsiteX25-5479" fmla="*/ 2200940 w 3662637"/>
                <a:gd name="connsiteY25-5480" fmla="*/ 4476307 h 4492350"/>
                <a:gd name="connsiteX26-5481" fmla="*/ 2186296 w 3662637"/>
                <a:gd name="connsiteY26-5482" fmla="*/ 4491415 h 4492350"/>
                <a:gd name="connsiteX27-5483" fmla="*/ 1711842 w 3662637"/>
                <a:gd name="connsiteY27-5484" fmla="*/ 4492350 h 4492350"/>
                <a:gd name="connsiteX0-5485" fmla="*/ 1711842 w 3662637"/>
                <a:gd name="connsiteY0-5486" fmla="*/ 4492350 h 4492350"/>
                <a:gd name="connsiteX1-5487" fmla="*/ 1765005 w 3662637"/>
                <a:gd name="connsiteY1-5488" fmla="*/ 3785190 h 4492350"/>
                <a:gd name="connsiteX2-5489" fmla="*/ 1275907 w 3662637"/>
                <a:gd name="connsiteY2-5490" fmla="*/ 3381153 h 4492350"/>
                <a:gd name="connsiteX3-5491" fmla="*/ 0 w 3662637"/>
                <a:gd name="connsiteY3-5492" fmla="*/ 2945218 h 4492350"/>
                <a:gd name="connsiteX4-5493" fmla="*/ 1095154 w 3662637"/>
                <a:gd name="connsiteY4-5494" fmla="*/ 3242930 h 4492350"/>
                <a:gd name="connsiteX5-5495" fmla="*/ 361507 w 3662637"/>
                <a:gd name="connsiteY5-5496" fmla="*/ 2456121 h 4492350"/>
                <a:gd name="connsiteX6-5497" fmla="*/ 1743740 w 3662637"/>
                <a:gd name="connsiteY6-5498" fmla="*/ 3519376 h 4492350"/>
                <a:gd name="connsiteX7-5499" fmla="*/ 1652058 w 3662637"/>
                <a:gd name="connsiteY7-5500" fmla="*/ 2400346 h 4492350"/>
                <a:gd name="connsiteX8-5501" fmla="*/ 28261 w 3662637"/>
                <a:gd name="connsiteY8-5502" fmla="*/ 742880 h 4492350"/>
                <a:gd name="connsiteX9-5503" fmla="*/ 956930 w 3662637"/>
                <a:gd name="connsiteY9-5504" fmla="*/ 1924493 h 4492350"/>
                <a:gd name="connsiteX10-5505" fmla="*/ 1061670 w 3662637"/>
                <a:gd name="connsiteY10-5506" fmla="*/ 857226 h 4492350"/>
                <a:gd name="connsiteX11-5507" fmla="*/ 1162773 w 3662637"/>
                <a:gd name="connsiteY11-5508" fmla="*/ 2026621 h 4492350"/>
                <a:gd name="connsiteX12-5509" fmla="*/ 1682742 w 3662637"/>
                <a:gd name="connsiteY12-5510" fmla="*/ 2194318 h 4492350"/>
                <a:gd name="connsiteX13-5511" fmla="*/ 1924493 w 3662637"/>
                <a:gd name="connsiteY13-5512" fmla="*/ 0 h 4492350"/>
                <a:gd name="connsiteX14-5513" fmla="*/ 1995936 w 3662637"/>
                <a:gd name="connsiteY14-5514" fmla="*/ 986216 h 4492350"/>
                <a:gd name="connsiteX15-5515" fmla="*/ 1850065 w 3662637"/>
                <a:gd name="connsiteY15-5516" fmla="*/ 2060385 h 4492350"/>
                <a:gd name="connsiteX16-5517" fmla="*/ 2025596 w 3662637"/>
                <a:gd name="connsiteY16-5518" fmla="*/ 3046321 h 4492350"/>
                <a:gd name="connsiteX17-5519" fmla="*/ 2615609 w 3662637"/>
                <a:gd name="connsiteY17-5520" fmla="*/ 2519916 h 4492350"/>
                <a:gd name="connsiteX18-5521" fmla="*/ 2881796 w 3662637"/>
                <a:gd name="connsiteY18-5522" fmla="*/ 1291762 h 4492350"/>
                <a:gd name="connsiteX19-5523" fmla="*/ 2774911 w 3662637"/>
                <a:gd name="connsiteY19-5524" fmla="*/ 2383091 h 4492350"/>
                <a:gd name="connsiteX20-5525" fmla="*/ 3662637 w 3662637"/>
                <a:gd name="connsiteY20-5526" fmla="*/ 1124252 h 4492350"/>
                <a:gd name="connsiteX21-5527" fmla="*/ 2190307 w 3662637"/>
                <a:gd name="connsiteY21-5528" fmla="*/ 3370521 h 4492350"/>
                <a:gd name="connsiteX22-5529" fmla="*/ 2137144 w 3662637"/>
                <a:gd name="connsiteY22-5530" fmla="*/ 3817088 h 4492350"/>
                <a:gd name="connsiteX23-5531" fmla="*/ 3285460 w 3662637"/>
                <a:gd name="connsiteY23-5532" fmla="*/ 3094074 h 4492350"/>
                <a:gd name="connsiteX24-5533" fmla="*/ 2162419 w 3662637"/>
                <a:gd name="connsiteY24-5534" fmla="*/ 4030951 h 4492350"/>
                <a:gd name="connsiteX25-5535" fmla="*/ 2200940 w 3662637"/>
                <a:gd name="connsiteY25-5536" fmla="*/ 4476307 h 4492350"/>
                <a:gd name="connsiteX26-5537" fmla="*/ 2186296 w 3662637"/>
                <a:gd name="connsiteY26-5538" fmla="*/ 4491415 h 4492350"/>
                <a:gd name="connsiteX27-5539" fmla="*/ 1711842 w 3662637"/>
                <a:gd name="connsiteY27-5540" fmla="*/ 4492350 h 4492350"/>
                <a:gd name="connsiteX0-5541" fmla="*/ 1711842 w 3662637"/>
                <a:gd name="connsiteY0-5542" fmla="*/ 4492350 h 4492350"/>
                <a:gd name="connsiteX1-5543" fmla="*/ 1765005 w 3662637"/>
                <a:gd name="connsiteY1-5544" fmla="*/ 3785190 h 4492350"/>
                <a:gd name="connsiteX2-5545" fmla="*/ 1275907 w 3662637"/>
                <a:gd name="connsiteY2-5546" fmla="*/ 3381153 h 4492350"/>
                <a:gd name="connsiteX3-5547" fmla="*/ 0 w 3662637"/>
                <a:gd name="connsiteY3-5548" fmla="*/ 2945218 h 4492350"/>
                <a:gd name="connsiteX4-5549" fmla="*/ 1095154 w 3662637"/>
                <a:gd name="connsiteY4-5550" fmla="*/ 3242930 h 4492350"/>
                <a:gd name="connsiteX5-5551" fmla="*/ 361507 w 3662637"/>
                <a:gd name="connsiteY5-5552" fmla="*/ 2456121 h 4492350"/>
                <a:gd name="connsiteX6-5553" fmla="*/ 1743740 w 3662637"/>
                <a:gd name="connsiteY6-5554" fmla="*/ 3519376 h 4492350"/>
                <a:gd name="connsiteX7-5555" fmla="*/ 1652058 w 3662637"/>
                <a:gd name="connsiteY7-5556" fmla="*/ 2400346 h 4492350"/>
                <a:gd name="connsiteX8-5557" fmla="*/ 28261 w 3662637"/>
                <a:gd name="connsiteY8-5558" fmla="*/ 742880 h 4492350"/>
                <a:gd name="connsiteX9-5559" fmla="*/ 956930 w 3662637"/>
                <a:gd name="connsiteY9-5560" fmla="*/ 1924493 h 4492350"/>
                <a:gd name="connsiteX10-5561" fmla="*/ 1061670 w 3662637"/>
                <a:gd name="connsiteY10-5562" fmla="*/ 857226 h 4492350"/>
                <a:gd name="connsiteX11-5563" fmla="*/ 1162773 w 3662637"/>
                <a:gd name="connsiteY11-5564" fmla="*/ 2026621 h 4492350"/>
                <a:gd name="connsiteX12-5565" fmla="*/ 1682742 w 3662637"/>
                <a:gd name="connsiteY12-5566" fmla="*/ 2194318 h 4492350"/>
                <a:gd name="connsiteX13-5567" fmla="*/ 1924493 w 3662637"/>
                <a:gd name="connsiteY13-5568" fmla="*/ 0 h 4492350"/>
                <a:gd name="connsiteX14-5569" fmla="*/ 1995936 w 3662637"/>
                <a:gd name="connsiteY14-5570" fmla="*/ 986216 h 4492350"/>
                <a:gd name="connsiteX15-5571" fmla="*/ 1850065 w 3662637"/>
                <a:gd name="connsiteY15-5572" fmla="*/ 2060385 h 4492350"/>
                <a:gd name="connsiteX16-5573" fmla="*/ 2025596 w 3662637"/>
                <a:gd name="connsiteY16-5574" fmla="*/ 3046321 h 4492350"/>
                <a:gd name="connsiteX17-5575" fmla="*/ 2615609 w 3662637"/>
                <a:gd name="connsiteY17-5576" fmla="*/ 2519916 h 4492350"/>
                <a:gd name="connsiteX18-5577" fmla="*/ 2881796 w 3662637"/>
                <a:gd name="connsiteY18-5578" fmla="*/ 1291762 h 4492350"/>
                <a:gd name="connsiteX19-5579" fmla="*/ 2774911 w 3662637"/>
                <a:gd name="connsiteY19-5580" fmla="*/ 2383091 h 4492350"/>
                <a:gd name="connsiteX20-5581" fmla="*/ 3662637 w 3662637"/>
                <a:gd name="connsiteY20-5582" fmla="*/ 1124252 h 4492350"/>
                <a:gd name="connsiteX21-5583" fmla="*/ 2190307 w 3662637"/>
                <a:gd name="connsiteY21-5584" fmla="*/ 3370521 h 4492350"/>
                <a:gd name="connsiteX22-5585" fmla="*/ 2137144 w 3662637"/>
                <a:gd name="connsiteY22-5586" fmla="*/ 3817088 h 4492350"/>
                <a:gd name="connsiteX23-5587" fmla="*/ 3285460 w 3662637"/>
                <a:gd name="connsiteY23-5588" fmla="*/ 3094074 h 4492350"/>
                <a:gd name="connsiteX24-5589" fmla="*/ 2162419 w 3662637"/>
                <a:gd name="connsiteY24-5590" fmla="*/ 4030951 h 4492350"/>
                <a:gd name="connsiteX25-5591" fmla="*/ 2200940 w 3662637"/>
                <a:gd name="connsiteY25-5592" fmla="*/ 4476307 h 4492350"/>
                <a:gd name="connsiteX26-5593" fmla="*/ 2186296 w 3662637"/>
                <a:gd name="connsiteY26-5594" fmla="*/ 4491415 h 4492350"/>
                <a:gd name="connsiteX27-5595" fmla="*/ 1711842 w 3662637"/>
                <a:gd name="connsiteY27-5596" fmla="*/ 4492350 h 4492350"/>
                <a:gd name="connsiteX0-5597" fmla="*/ 1711842 w 3662637"/>
                <a:gd name="connsiteY0-5598" fmla="*/ 4492350 h 4492350"/>
                <a:gd name="connsiteX1-5599" fmla="*/ 1765005 w 3662637"/>
                <a:gd name="connsiteY1-5600" fmla="*/ 3785190 h 4492350"/>
                <a:gd name="connsiteX2-5601" fmla="*/ 1275907 w 3662637"/>
                <a:gd name="connsiteY2-5602" fmla="*/ 3381153 h 4492350"/>
                <a:gd name="connsiteX3-5603" fmla="*/ 0 w 3662637"/>
                <a:gd name="connsiteY3-5604" fmla="*/ 2945218 h 4492350"/>
                <a:gd name="connsiteX4-5605" fmla="*/ 1095154 w 3662637"/>
                <a:gd name="connsiteY4-5606" fmla="*/ 3242930 h 4492350"/>
                <a:gd name="connsiteX5-5607" fmla="*/ 381560 w 3662637"/>
                <a:gd name="connsiteY5-5608" fmla="*/ 2432058 h 4492350"/>
                <a:gd name="connsiteX6-5609" fmla="*/ 1743740 w 3662637"/>
                <a:gd name="connsiteY6-5610" fmla="*/ 3519376 h 4492350"/>
                <a:gd name="connsiteX7-5611" fmla="*/ 1652058 w 3662637"/>
                <a:gd name="connsiteY7-5612" fmla="*/ 2400346 h 4492350"/>
                <a:gd name="connsiteX8-5613" fmla="*/ 28261 w 3662637"/>
                <a:gd name="connsiteY8-5614" fmla="*/ 742880 h 4492350"/>
                <a:gd name="connsiteX9-5615" fmla="*/ 956930 w 3662637"/>
                <a:gd name="connsiteY9-5616" fmla="*/ 1924493 h 4492350"/>
                <a:gd name="connsiteX10-5617" fmla="*/ 1061670 w 3662637"/>
                <a:gd name="connsiteY10-5618" fmla="*/ 857226 h 4492350"/>
                <a:gd name="connsiteX11-5619" fmla="*/ 1162773 w 3662637"/>
                <a:gd name="connsiteY11-5620" fmla="*/ 2026621 h 4492350"/>
                <a:gd name="connsiteX12-5621" fmla="*/ 1682742 w 3662637"/>
                <a:gd name="connsiteY12-5622" fmla="*/ 2194318 h 4492350"/>
                <a:gd name="connsiteX13-5623" fmla="*/ 1924493 w 3662637"/>
                <a:gd name="connsiteY13-5624" fmla="*/ 0 h 4492350"/>
                <a:gd name="connsiteX14-5625" fmla="*/ 1995936 w 3662637"/>
                <a:gd name="connsiteY14-5626" fmla="*/ 986216 h 4492350"/>
                <a:gd name="connsiteX15-5627" fmla="*/ 1850065 w 3662637"/>
                <a:gd name="connsiteY15-5628" fmla="*/ 2060385 h 4492350"/>
                <a:gd name="connsiteX16-5629" fmla="*/ 2025596 w 3662637"/>
                <a:gd name="connsiteY16-5630" fmla="*/ 3046321 h 4492350"/>
                <a:gd name="connsiteX17-5631" fmla="*/ 2615609 w 3662637"/>
                <a:gd name="connsiteY17-5632" fmla="*/ 2519916 h 4492350"/>
                <a:gd name="connsiteX18-5633" fmla="*/ 2881796 w 3662637"/>
                <a:gd name="connsiteY18-5634" fmla="*/ 1291762 h 4492350"/>
                <a:gd name="connsiteX19-5635" fmla="*/ 2774911 w 3662637"/>
                <a:gd name="connsiteY19-5636" fmla="*/ 2383091 h 4492350"/>
                <a:gd name="connsiteX20-5637" fmla="*/ 3662637 w 3662637"/>
                <a:gd name="connsiteY20-5638" fmla="*/ 1124252 h 4492350"/>
                <a:gd name="connsiteX21-5639" fmla="*/ 2190307 w 3662637"/>
                <a:gd name="connsiteY21-5640" fmla="*/ 3370521 h 4492350"/>
                <a:gd name="connsiteX22-5641" fmla="*/ 2137144 w 3662637"/>
                <a:gd name="connsiteY22-5642" fmla="*/ 3817088 h 4492350"/>
                <a:gd name="connsiteX23-5643" fmla="*/ 3285460 w 3662637"/>
                <a:gd name="connsiteY23-5644" fmla="*/ 3094074 h 4492350"/>
                <a:gd name="connsiteX24-5645" fmla="*/ 2162419 w 3662637"/>
                <a:gd name="connsiteY24-5646" fmla="*/ 4030951 h 4492350"/>
                <a:gd name="connsiteX25-5647" fmla="*/ 2200940 w 3662637"/>
                <a:gd name="connsiteY25-5648" fmla="*/ 4476307 h 4492350"/>
                <a:gd name="connsiteX26-5649" fmla="*/ 2186296 w 3662637"/>
                <a:gd name="connsiteY26-5650" fmla="*/ 4491415 h 4492350"/>
                <a:gd name="connsiteX27-5651" fmla="*/ 1711842 w 3662637"/>
                <a:gd name="connsiteY27-5652" fmla="*/ 4492350 h 4492350"/>
                <a:gd name="connsiteX0-5653" fmla="*/ 1711842 w 3662637"/>
                <a:gd name="connsiteY0-5654" fmla="*/ 4492350 h 4492350"/>
                <a:gd name="connsiteX1-5655" fmla="*/ 1765005 w 3662637"/>
                <a:gd name="connsiteY1-5656" fmla="*/ 3785190 h 4492350"/>
                <a:gd name="connsiteX2-5657" fmla="*/ 1275907 w 3662637"/>
                <a:gd name="connsiteY2-5658" fmla="*/ 3381153 h 4492350"/>
                <a:gd name="connsiteX3-5659" fmla="*/ 0 w 3662637"/>
                <a:gd name="connsiteY3-5660" fmla="*/ 2945218 h 4492350"/>
                <a:gd name="connsiteX4-5661" fmla="*/ 1095154 w 3662637"/>
                <a:gd name="connsiteY4-5662" fmla="*/ 3242930 h 4492350"/>
                <a:gd name="connsiteX5-5663" fmla="*/ 381560 w 3662637"/>
                <a:gd name="connsiteY5-5664" fmla="*/ 2432058 h 4492350"/>
                <a:gd name="connsiteX6-5665" fmla="*/ 1743740 w 3662637"/>
                <a:gd name="connsiteY6-5666" fmla="*/ 3519376 h 4492350"/>
                <a:gd name="connsiteX7-5667" fmla="*/ 1652058 w 3662637"/>
                <a:gd name="connsiteY7-5668" fmla="*/ 2400346 h 4492350"/>
                <a:gd name="connsiteX8-5669" fmla="*/ 28261 w 3662637"/>
                <a:gd name="connsiteY8-5670" fmla="*/ 742880 h 4492350"/>
                <a:gd name="connsiteX9-5671" fmla="*/ 956930 w 3662637"/>
                <a:gd name="connsiteY9-5672" fmla="*/ 1924493 h 4492350"/>
                <a:gd name="connsiteX10-5673" fmla="*/ 1061670 w 3662637"/>
                <a:gd name="connsiteY10-5674" fmla="*/ 857226 h 4492350"/>
                <a:gd name="connsiteX11-5675" fmla="*/ 1162773 w 3662637"/>
                <a:gd name="connsiteY11-5676" fmla="*/ 2026621 h 4492350"/>
                <a:gd name="connsiteX12-5677" fmla="*/ 1682742 w 3662637"/>
                <a:gd name="connsiteY12-5678" fmla="*/ 2194318 h 4492350"/>
                <a:gd name="connsiteX13-5679" fmla="*/ 1924493 w 3662637"/>
                <a:gd name="connsiteY13-5680" fmla="*/ 0 h 4492350"/>
                <a:gd name="connsiteX14-5681" fmla="*/ 1995936 w 3662637"/>
                <a:gd name="connsiteY14-5682" fmla="*/ 986216 h 4492350"/>
                <a:gd name="connsiteX15-5683" fmla="*/ 1850065 w 3662637"/>
                <a:gd name="connsiteY15-5684" fmla="*/ 2060385 h 4492350"/>
                <a:gd name="connsiteX16-5685" fmla="*/ 2025596 w 3662637"/>
                <a:gd name="connsiteY16-5686" fmla="*/ 3046321 h 4492350"/>
                <a:gd name="connsiteX17-5687" fmla="*/ 2615609 w 3662637"/>
                <a:gd name="connsiteY17-5688" fmla="*/ 2519916 h 4492350"/>
                <a:gd name="connsiteX18-5689" fmla="*/ 2881796 w 3662637"/>
                <a:gd name="connsiteY18-5690" fmla="*/ 1291762 h 4492350"/>
                <a:gd name="connsiteX19-5691" fmla="*/ 2774911 w 3662637"/>
                <a:gd name="connsiteY19-5692" fmla="*/ 2383091 h 4492350"/>
                <a:gd name="connsiteX20-5693" fmla="*/ 3662637 w 3662637"/>
                <a:gd name="connsiteY20-5694" fmla="*/ 1124252 h 4492350"/>
                <a:gd name="connsiteX21-5695" fmla="*/ 2190307 w 3662637"/>
                <a:gd name="connsiteY21-5696" fmla="*/ 3370521 h 4492350"/>
                <a:gd name="connsiteX22-5697" fmla="*/ 2137144 w 3662637"/>
                <a:gd name="connsiteY22-5698" fmla="*/ 3817088 h 4492350"/>
                <a:gd name="connsiteX23-5699" fmla="*/ 3285460 w 3662637"/>
                <a:gd name="connsiteY23-5700" fmla="*/ 3094074 h 4492350"/>
                <a:gd name="connsiteX24-5701" fmla="*/ 2162419 w 3662637"/>
                <a:gd name="connsiteY24-5702" fmla="*/ 4030951 h 4492350"/>
                <a:gd name="connsiteX25-5703" fmla="*/ 2200940 w 3662637"/>
                <a:gd name="connsiteY25-5704" fmla="*/ 4476307 h 4492350"/>
                <a:gd name="connsiteX26-5705" fmla="*/ 2186296 w 3662637"/>
                <a:gd name="connsiteY26-5706" fmla="*/ 4491415 h 4492350"/>
                <a:gd name="connsiteX27-5707" fmla="*/ 1711842 w 3662637"/>
                <a:gd name="connsiteY27-5708" fmla="*/ 4492350 h 4492350"/>
                <a:gd name="connsiteX0-5709" fmla="*/ 1711842 w 3662637"/>
                <a:gd name="connsiteY0-5710" fmla="*/ 4492350 h 4492350"/>
                <a:gd name="connsiteX1-5711" fmla="*/ 1765005 w 3662637"/>
                <a:gd name="connsiteY1-5712" fmla="*/ 3785190 h 4492350"/>
                <a:gd name="connsiteX2-5713" fmla="*/ 1275907 w 3662637"/>
                <a:gd name="connsiteY2-5714" fmla="*/ 3381153 h 4492350"/>
                <a:gd name="connsiteX3-5715" fmla="*/ 0 w 3662637"/>
                <a:gd name="connsiteY3-5716" fmla="*/ 2945218 h 4492350"/>
                <a:gd name="connsiteX4-5717" fmla="*/ 1095154 w 3662637"/>
                <a:gd name="connsiteY4-5718" fmla="*/ 3242930 h 4492350"/>
                <a:gd name="connsiteX5-5719" fmla="*/ 381560 w 3662637"/>
                <a:gd name="connsiteY5-5720" fmla="*/ 2432058 h 4492350"/>
                <a:gd name="connsiteX6-5721" fmla="*/ 1743740 w 3662637"/>
                <a:gd name="connsiteY6-5722" fmla="*/ 3519376 h 4492350"/>
                <a:gd name="connsiteX7-5723" fmla="*/ 1652058 w 3662637"/>
                <a:gd name="connsiteY7-5724" fmla="*/ 2400346 h 4492350"/>
                <a:gd name="connsiteX8-5725" fmla="*/ 28261 w 3662637"/>
                <a:gd name="connsiteY8-5726" fmla="*/ 742880 h 4492350"/>
                <a:gd name="connsiteX9-5727" fmla="*/ 956930 w 3662637"/>
                <a:gd name="connsiteY9-5728" fmla="*/ 1924493 h 4492350"/>
                <a:gd name="connsiteX10-5729" fmla="*/ 1061670 w 3662637"/>
                <a:gd name="connsiteY10-5730" fmla="*/ 857226 h 4492350"/>
                <a:gd name="connsiteX11-5731" fmla="*/ 1162773 w 3662637"/>
                <a:gd name="connsiteY11-5732" fmla="*/ 2026621 h 4492350"/>
                <a:gd name="connsiteX12-5733" fmla="*/ 1682742 w 3662637"/>
                <a:gd name="connsiteY12-5734" fmla="*/ 2194318 h 4492350"/>
                <a:gd name="connsiteX13-5735" fmla="*/ 1924493 w 3662637"/>
                <a:gd name="connsiteY13-5736" fmla="*/ 0 h 4492350"/>
                <a:gd name="connsiteX14-5737" fmla="*/ 1995936 w 3662637"/>
                <a:gd name="connsiteY14-5738" fmla="*/ 986216 h 4492350"/>
                <a:gd name="connsiteX15-5739" fmla="*/ 1850065 w 3662637"/>
                <a:gd name="connsiteY15-5740" fmla="*/ 2060385 h 4492350"/>
                <a:gd name="connsiteX16-5741" fmla="*/ 2025596 w 3662637"/>
                <a:gd name="connsiteY16-5742" fmla="*/ 3046321 h 4492350"/>
                <a:gd name="connsiteX17-5743" fmla="*/ 2615609 w 3662637"/>
                <a:gd name="connsiteY17-5744" fmla="*/ 2519916 h 4492350"/>
                <a:gd name="connsiteX18-5745" fmla="*/ 2881796 w 3662637"/>
                <a:gd name="connsiteY18-5746" fmla="*/ 1291762 h 4492350"/>
                <a:gd name="connsiteX19-5747" fmla="*/ 2774911 w 3662637"/>
                <a:gd name="connsiteY19-5748" fmla="*/ 2383091 h 4492350"/>
                <a:gd name="connsiteX20-5749" fmla="*/ 3662637 w 3662637"/>
                <a:gd name="connsiteY20-5750" fmla="*/ 1124252 h 4492350"/>
                <a:gd name="connsiteX21-5751" fmla="*/ 2190307 w 3662637"/>
                <a:gd name="connsiteY21-5752" fmla="*/ 3370521 h 4492350"/>
                <a:gd name="connsiteX22-5753" fmla="*/ 2137144 w 3662637"/>
                <a:gd name="connsiteY22-5754" fmla="*/ 3817088 h 4492350"/>
                <a:gd name="connsiteX23-5755" fmla="*/ 3285460 w 3662637"/>
                <a:gd name="connsiteY23-5756" fmla="*/ 3094074 h 4492350"/>
                <a:gd name="connsiteX24-5757" fmla="*/ 2162419 w 3662637"/>
                <a:gd name="connsiteY24-5758" fmla="*/ 4030951 h 4492350"/>
                <a:gd name="connsiteX25-5759" fmla="*/ 2200940 w 3662637"/>
                <a:gd name="connsiteY25-5760" fmla="*/ 4476307 h 4492350"/>
                <a:gd name="connsiteX26-5761" fmla="*/ 2186296 w 3662637"/>
                <a:gd name="connsiteY26-5762" fmla="*/ 4491415 h 4492350"/>
                <a:gd name="connsiteX27-5763" fmla="*/ 1711842 w 3662637"/>
                <a:gd name="connsiteY27-5764" fmla="*/ 4492350 h 4492350"/>
                <a:gd name="connsiteX0-5765" fmla="*/ 1711842 w 3662637"/>
                <a:gd name="connsiteY0-5766" fmla="*/ 4492350 h 4492350"/>
                <a:gd name="connsiteX1-5767" fmla="*/ 1765005 w 3662637"/>
                <a:gd name="connsiteY1-5768" fmla="*/ 3785190 h 4492350"/>
                <a:gd name="connsiteX2-5769" fmla="*/ 1275907 w 3662637"/>
                <a:gd name="connsiteY2-5770" fmla="*/ 3381153 h 4492350"/>
                <a:gd name="connsiteX3-5771" fmla="*/ 0 w 3662637"/>
                <a:gd name="connsiteY3-5772" fmla="*/ 2945218 h 4492350"/>
                <a:gd name="connsiteX4-5773" fmla="*/ 1111196 w 3662637"/>
                <a:gd name="connsiteY4-5774" fmla="*/ 3238920 h 4492350"/>
                <a:gd name="connsiteX5-5775" fmla="*/ 381560 w 3662637"/>
                <a:gd name="connsiteY5-5776" fmla="*/ 2432058 h 4492350"/>
                <a:gd name="connsiteX6-5777" fmla="*/ 1743740 w 3662637"/>
                <a:gd name="connsiteY6-5778" fmla="*/ 3519376 h 4492350"/>
                <a:gd name="connsiteX7-5779" fmla="*/ 1652058 w 3662637"/>
                <a:gd name="connsiteY7-5780" fmla="*/ 2400346 h 4492350"/>
                <a:gd name="connsiteX8-5781" fmla="*/ 28261 w 3662637"/>
                <a:gd name="connsiteY8-5782" fmla="*/ 742880 h 4492350"/>
                <a:gd name="connsiteX9-5783" fmla="*/ 956930 w 3662637"/>
                <a:gd name="connsiteY9-5784" fmla="*/ 1924493 h 4492350"/>
                <a:gd name="connsiteX10-5785" fmla="*/ 1061670 w 3662637"/>
                <a:gd name="connsiteY10-5786" fmla="*/ 857226 h 4492350"/>
                <a:gd name="connsiteX11-5787" fmla="*/ 1162773 w 3662637"/>
                <a:gd name="connsiteY11-5788" fmla="*/ 2026621 h 4492350"/>
                <a:gd name="connsiteX12-5789" fmla="*/ 1682742 w 3662637"/>
                <a:gd name="connsiteY12-5790" fmla="*/ 2194318 h 4492350"/>
                <a:gd name="connsiteX13-5791" fmla="*/ 1924493 w 3662637"/>
                <a:gd name="connsiteY13-5792" fmla="*/ 0 h 4492350"/>
                <a:gd name="connsiteX14-5793" fmla="*/ 1995936 w 3662637"/>
                <a:gd name="connsiteY14-5794" fmla="*/ 986216 h 4492350"/>
                <a:gd name="connsiteX15-5795" fmla="*/ 1850065 w 3662637"/>
                <a:gd name="connsiteY15-5796" fmla="*/ 2060385 h 4492350"/>
                <a:gd name="connsiteX16-5797" fmla="*/ 2025596 w 3662637"/>
                <a:gd name="connsiteY16-5798" fmla="*/ 3046321 h 4492350"/>
                <a:gd name="connsiteX17-5799" fmla="*/ 2615609 w 3662637"/>
                <a:gd name="connsiteY17-5800" fmla="*/ 2519916 h 4492350"/>
                <a:gd name="connsiteX18-5801" fmla="*/ 2881796 w 3662637"/>
                <a:gd name="connsiteY18-5802" fmla="*/ 1291762 h 4492350"/>
                <a:gd name="connsiteX19-5803" fmla="*/ 2774911 w 3662637"/>
                <a:gd name="connsiteY19-5804" fmla="*/ 2383091 h 4492350"/>
                <a:gd name="connsiteX20-5805" fmla="*/ 3662637 w 3662637"/>
                <a:gd name="connsiteY20-5806" fmla="*/ 1124252 h 4492350"/>
                <a:gd name="connsiteX21-5807" fmla="*/ 2190307 w 3662637"/>
                <a:gd name="connsiteY21-5808" fmla="*/ 3370521 h 4492350"/>
                <a:gd name="connsiteX22-5809" fmla="*/ 2137144 w 3662637"/>
                <a:gd name="connsiteY22-5810" fmla="*/ 3817088 h 4492350"/>
                <a:gd name="connsiteX23-5811" fmla="*/ 3285460 w 3662637"/>
                <a:gd name="connsiteY23-5812" fmla="*/ 3094074 h 4492350"/>
                <a:gd name="connsiteX24-5813" fmla="*/ 2162419 w 3662637"/>
                <a:gd name="connsiteY24-5814" fmla="*/ 4030951 h 4492350"/>
                <a:gd name="connsiteX25-5815" fmla="*/ 2200940 w 3662637"/>
                <a:gd name="connsiteY25-5816" fmla="*/ 4476307 h 4492350"/>
                <a:gd name="connsiteX26-5817" fmla="*/ 2186296 w 3662637"/>
                <a:gd name="connsiteY26-5818" fmla="*/ 4491415 h 4492350"/>
                <a:gd name="connsiteX27-5819" fmla="*/ 1711842 w 3662637"/>
                <a:gd name="connsiteY27-5820" fmla="*/ 4492350 h 4492350"/>
                <a:gd name="connsiteX0-5821" fmla="*/ 1711842 w 3662637"/>
                <a:gd name="connsiteY0-5822" fmla="*/ 4492350 h 4492350"/>
                <a:gd name="connsiteX1-5823" fmla="*/ 1765005 w 3662637"/>
                <a:gd name="connsiteY1-5824" fmla="*/ 3785190 h 4492350"/>
                <a:gd name="connsiteX2-5825" fmla="*/ 1275907 w 3662637"/>
                <a:gd name="connsiteY2-5826" fmla="*/ 3381153 h 4492350"/>
                <a:gd name="connsiteX3-5827" fmla="*/ 0 w 3662637"/>
                <a:gd name="connsiteY3-5828" fmla="*/ 2945218 h 4492350"/>
                <a:gd name="connsiteX4-5829" fmla="*/ 1111196 w 3662637"/>
                <a:gd name="connsiteY4-5830" fmla="*/ 3238920 h 4492350"/>
                <a:gd name="connsiteX5-5831" fmla="*/ 381560 w 3662637"/>
                <a:gd name="connsiteY5-5832" fmla="*/ 2432058 h 4492350"/>
                <a:gd name="connsiteX6-5833" fmla="*/ 1743740 w 3662637"/>
                <a:gd name="connsiteY6-5834" fmla="*/ 3519376 h 4492350"/>
                <a:gd name="connsiteX7-5835" fmla="*/ 1652058 w 3662637"/>
                <a:gd name="connsiteY7-5836" fmla="*/ 2400346 h 4492350"/>
                <a:gd name="connsiteX8-5837" fmla="*/ 28261 w 3662637"/>
                <a:gd name="connsiteY8-5838" fmla="*/ 742880 h 4492350"/>
                <a:gd name="connsiteX9-5839" fmla="*/ 956930 w 3662637"/>
                <a:gd name="connsiteY9-5840" fmla="*/ 1924493 h 4492350"/>
                <a:gd name="connsiteX10-5841" fmla="*/ 1061670 w 3662637"/>
                <a:gd name="connsiteY10-5842" fmla="*/ 857226 h 4492350"/>
                <a:gd name="connsiteX11-5843" fmla="*/ 1162773 w 3662637"/>
                <a:gd name="connsiteY11-5844" fmla="*/ 2026621 h 4492350"/>
                <a:gd name="connsiteX12-5845" fmla="*/ 1682742 w 3662637"/>
                <a:gd name="connsiteY12-5846" fmla="*/ 2194318 h 4492350"/>
                <a:gd name="connsiteX13-5847" fmla="*/ 1924493 w 3662637"/>
                <a:gd name="connsiteY13-5848" fmla="*/ 0 h 4492350"/>
                <a:gd name="connsiteX14-5849" fmla="*/ 1995936 w 3662637"/>
                <a:gd name="connsiteY14-5850" fmla="*/ 986216 h 4492350"/>
                <a:gd name="connsiteX15-5851" fmla="*/ 1850065 w 3662637"/>
                <a:gd name="connsiteY15-5852" fmla="*/ 2060385 h 4492350"/>
                <a:gd name="connsiteX16-5853" fmla="*/ 2025596 w 3662637"/>
                <a:gd name="connsiteY16-5854" fmla="*/ 3046321 h 4492350"/>
                <a:gd name="connsiteX17-5855" fmla="*/ 2615609 w 3662637"/>
                <a:gd name="connsiteY17-5856" fmla="*/ 2519916 h 4492350"/>
                <a:gd name="connsiteX18-5857" fmla="*/ 2881796 w 3662637"/>
                <a:gd name="connsiteY18-5858" fmla="*/ 1291762 h 4492350"/>
                <a:gd name="connsiteX19-5859" fmla="*/ 2774911 w 3662637"/>
                <a:gd name="connsiteY19-5860" fmla="*/ 2383091 h 4492350"/>
                <a:gd name="connsiteX20-5861" fmla="*/ 3662637 w 3662637"/>
                <a:gd name="connsiteY20-5862" fmla="*/ 1124252 h 4492350"/>
                <a:gd name="connsiteX21-5863" fmla="*/ 2190307 w 3662637"/>
                <a:gd name="connsiteY21-5864" fmla="*/ 3370521 h 4492350"/>
                <a:gd name="connsiteX22-5865" fmla="*/ 2137144 w 3662637"/>
                <a:gd name="connsiteY22-5866" fmla="*/ 3817088 h 4492350"/>
                <a:gd name="connsiteX23-5867" fmla="*/ 3285460 w 3662637"/>
                <a:gd name="connsiteY23-5868" fmla="*/ 3094074 h 4492350"/>
                <a:gd name="connsiteX24-5869" fmla="*/ 2162419 w 3662637"/>
                <a:gd name="connsiteY24-5870" fmla="*/ 4030951 h 4492350"/>
                <a:gd name="connsiteX25-5871" fmla="*/ 2200940 w 3662637"/>
                <a:gd name="connsiteY25-5872" fmla="*/ 4476307 h 4492350"/>
                <a:gd name="connsiteX26-5873" fmla="*/ 2186296 w 3662637"/>
                <a:gd name="connsiteY26-5874" fmla="*/ 4491415 h 4492350"/>
                <a:gd name="connsiteX27-5875" fmla="*/ 1711842 w 3662637"/>
                <a:gd name="connsiteY27-5876" fmla="*/ 4492350 h 4492350"/>
                <a:gd name="connsiteX0-5877" fmla="*/ 1711842 w 3662637"/>
                <a:gd name="connsiteY0-5878" fmla="*/ 4492350 h 4492350"/>
                <a:gd name="connsiteX1-5879" fmla="*/ 1765005 w 3662637"/>
                <a:gd name="connsiteY1-5880" fmla="*/ 3785190 h 4492350"/>
                <a:gd name="connsiteX2-5881" fmla="*/ 1275907 w 3662637"/>
                <a:gd name="connsiteY2-5882" fmla="*/ 3381153 h 4492350"/>
                <a:gd name="connsiteX3-5883" fmla="*/ 0 w 3662637"/>
                <a:gd name="connsiteY3-5884" fmla="*/ 2945218 h 4492350"/>
                <a:gd name="connsiteX4-5885" fmla="*/ 1111196 w 3662637"/>
                <a:gd name="connsiteY4-5886" fmla="*/ 3238920 h 4492350"/>
                <a:gd name="connsiteX5-5887" fmla="*/ 381560 w 3662637"/>
                <a:gd name="connsiteY5-5888" fmla="*/ 2432058 h 4492350"/>
                <a:gd name="connsiteX6-5889" fmla="*/ 1743740 w 3662637"/>
                <a:gd name="connsiteY6-5890" fmla="*/ 3519376 h 4492350"/>
                <a:gd name="connsiteX7-5891" fmla="*/ 1652058 w 3662637"/>
                <a:gd name="connsiteY7-5892" fmla="*/ 2400346 h 4492350"/>
                <a:gd name="connsiteX8-5893" fmla="*/ 28261 w 3662637"/>
                <a:gd name="connsiteY8-5894" fmla="*/ 742880 h 4492350"/>
                <a:gd name="connsiteX9-5895" fmla="*/ 956930 w 3662637"/>
                <a:gd name="connsiteY9-5896" fmla="*/ 1924493 h 4492350"/>
                <a:gd name="connsiteX10-5897" fmla="*/ 1061670 w 3662637"/>
                <a:gd name="connsiteY10-5898" fmla="*/ 857226 h 4492350"/>
                <a:gd name="connsiteX11-5899" fmla="*/ 1162773 w 3662637"/>
                <a:gd name="connsiteY11-5900" fmla="*/ 2026621 h 4492350"/>
                <a:gd name="connsiteX12-5901" fmla="*/ 1682742 w 3662637"/>
                <a:gd name="connsiteY12-5902" fmla="*/ 2194318 h 4492350"/>
                <a:gd name="connsiteX13-5903" fmla="*/ 1924493 w 3662637"/>
                <a:gd name="connsiteY13-5904" fmla="*/ 0 h 4492350"/>
                <a:gd name="connsiteX14-5905" fmla="*/ 1995936 w 3662637"/>
                <a:gd name="connsiteY14-5906" fmla="*/ 986216 h 4492350"/>
                <a:gd name="connsiteX15-5907" fmla="*/ 1850065 w 3662637"/>
                <a:gd name="connsiteY15-5908" fmla="*/ 2060385 h 4492350"/>
                <a:gd name="connsiteX16-5909" fmla="*/ 2025596 w 3662637"/>
                <a:gd name="connsiteY16-5910" fmla="*/ 3046321 h 4492350"/>
                <a:gd name="connsiteX17-5911" fmla="*/ 2615609 w 3662637"/>
                <a:gd name="connsiteY17-5912" fmla="*/ 2519916 h 4492350"/>
                <a:gd name="connsiteX18-5913" fmla="*/ 2881796 w 3662637"/>
                <a:gd name="connsiteY18-5914" fmla="*/ 1291762 h 4492350"/>
                <a:gd name="connsiteX19-5915" fmla="*/ 2774911 w 3662637"/>
                <a:gd name="connsiteY19-5916" fmla="*/ 2383091 h 4492350"/>
                <a:gd name="connsiteX20-5917" fmla="*/ 3662637 w 3662637"/>
                <a:gd name="connsiteY20-5918" fmla="*/ 1124252 h 4492350"/>
                <a:gd name="connsiteX21-5919" fmla="*/ 2190307 w 3662637"/>
                <a:gd name="connsiteY21-5920" fmla="*/ 3370521 h 4492350"/>
                <a:gd name="connsiteX22-5921" fmla="*/ 2137144 w 3662637"/>
                <a:gd name="connsiteY22-5922" fmla="*/ 3817088 h 4492350"/>
                <a:gd name="connsiteX23-5923" fmla="*/ 3285460 w 3662637"/>
                <a:gd name="connsiteY23-5924" fmla="*/ 3094074 h 4492350"/>
                <a:gd name="connsiteX24-5925" fmla="*/ 2162419 w 3662637"/>
                <a:gd name="connsiteY24-5926" fmla="*/ 4030951 h 4492350"/>
                <a:gd name="connsiteX25-5927" fmla="*/ 2200940 w 3662637"/>
                <a:gd name="connsiteY25-5928" fmla="*/ 4476307 h 4492350"/>
                <a:gd name="connsiteX26-5929" fmla="*/ 2186296 w 3662637"/>
                <a:gd name="connsiteY26-5930" fmla="*/ 4491415 h 4492350"/>
                <a:gd name="connsiteX27-5931" fmla="*/ 1711842 w 3662637"/>
                <a:gd name="connsiteY27-5932" fmla="*/ 4492350 h 4492350"/>
                <a:gd name="connsiteX0-5933" fmla="*/ 1711842 w 3662637"/>
                <a:gd name="connsiteY0-5934" fmla="*/ 4492350 h 4492350"/>
                <a:gd name="connsiteX1-5935" fmla="*/ 1765005 w 3662637"/>
                <a:gd name="connsiteY1-5936" fmla="*/ 3785190 h 4492350"/>
                <a:gd name="connsiteX2-5937" fmla="*/ 1275907 w 3662637"/>
                <a:gd name="connsiteY2-5938" fmla="*/ 3381153 h 4492350"/>
                <a:gd name="connsiteX3-5939" fmla="*/ 0 w 3662637"/>
                <a:gd name="connsiteY3-5940" fmla="*/ 2945218 h 4492350"/>
                <a:gd name="connsiteX4-5941" fmla="*/ 1111196 w 3662637"/>
                <a:gd name="connsiteY4-5942" fmla="*/ 3238920 h 4492350"/>
                <a:gd name="connsiteX5-5943" fmla="*/ 381560 w 3662637"/>
                <a:gd name="connsiteY5-5944" fmla="*/ 2432058 h 4492350"/>
                <a:gd name="connsiteX6-5945" fmla="*/ 1743740 w 3662637"/>
                <a:gd name="connsiteY6-5946" fmla="*/ 3519376 h 4492350"/>
                <a:gd name="connsiteX7-5947" fmla="*/ 1652058 w 3662637"/>
                <a:gd name="connsiteY7-5948" fmla="*/ 2400346 h 4492350"/>
                <a:gd name="connsiteX8-5949" fmla="*/ 28261 w 3662637"/>
                <a:gd name="connsiteY8-5950" fmla="*/ 742880 h 4492350"/>
                <a:gd name="connsiteX9-5951" fmla="*/ 956930 w 3662637"/>
                <a:gd name="connsiteY9-5952" fmla="*/ 1924493 h 4492350"/>
                <a:gd name="connsiteX10-5953" fmla="*/ 1061670 w 3662637"/>
                <a:gd name="connsiteY10-5954" fmla="*/ 857226 h 4492350"/>
                <a:gd name="connsiteX11-5955" fmla="*/ 1162773 w 3662637"/>
                <a:gd name="connsiteY11-5956" fmla="*/ 2026621 h 4492350"/>
                <a:gd name="connsiteX12-5957" fmla="*/ 1682742 w 3662637"/>
                <a:gd name="connsiteY12-5958" fmla="*/ 2194318 h 4492350"/>
                <a:gd name="connsiteX13-5959" fmla="*/ 1924493 w 3662637"/>
                <a:gd name="connsiteY13-5960" fmla="*/ 0 h 4492350"/>
                <a:gd name="connsiteX14-5961" fmla="*/ 1995936 w 3662637"/>
                <a:gd name="connsiteY14-5962" fmla="*/ 986216 h 4492350"/>
                <a:gd name="connsiteX15-5963" fmla="*/ 1850065 w 3662637"/>
                <a:gd name="connsiteY15-5964" fmla="*/ 2060385 h 4492350"/>
                <a:gd name="connsiteX16-5965" fmla="*/ 2025596 w 3662637"/>
                <a:gd name="connsiteY16-5966" fmla="*/ 3046321 h 4492350"/>
                <a:gd name="connsiteX17-5967" fmla="*/ 2615609 w 3662637"/>
                <a:gd name="connsiteY17-5968" fmla="*/ 2519916 h 4492350"/>
                <a:gd name="connsiteX18-5969" fmla="*/ 2881796 w 3662637"/>
                <a:gd name="connsiteY18-5970" fmla="*/ 1291762 h 4492350"/>
                <a:gd name="connsiteX19-5971" fmla="*/ 2774911 w 3662637"/>
                <a:gd name="connsiteY19-5972" fmla="*/ 2383091 h 4492350"/>
                <a:gd name="connsiteX20-5973" fmla="*/ 3662637 w 3662637"/>
                <a:gd name="connsiteY20-5974" fmla="*/ 1124252 h 4492350"/>
                <a:gd name="connsiteX21-5975" fmla="*/ 2190307 w 3662637"/>
                <a:gd name="connsiteY21-5976" fmla="*/ 3370521 h 4492350"/>
                <a:gd name="connsiteX22-5977" fmla="*/ 2137144 w 3662637"/>
                <a:gd name="connsiteY22-5978" fmla="*/ 3817088 h 4492350"/>
                <a:gd name="connsiteX23-5979" fmla="*/ 3285460 w 3662637"/>
                <a:gd name="connsiteY23-5980" fmla="*/ 3094074 h 4492350"/>
                <a:gd name="connsiteX24-5981" fmla="*/ 2162419 w 3662637"/>
                <a:gd name="connsiteY24-5982" fmla="*/ 4030951 h 4492350"/>
                <a:gd name="connsiteX25-5983" fmla="*/ 2200940 w 3662637"/>
                <a:gd name="connsiteY25-5984" fmla="*/ 4476307 h 4492350"/>
                <a:gd name="connsiteX26-5985" fmla="*/ 2186296 w 3662637"/>
                <a:gd name="connsiteY26-5986" fmla="*/ 4491415 h 4492350"/>
                <a:gd name="connsiteX27-5987" fmla="*/ 1711842 w 3662637"/>
                <a:gd name="connsiteY27-5988" fmla="*/ 4492350 h 4492350"/>
                <a:gd name="connsiteX0-5989" fmla="*/ 1711842 w 3662637"/>
                <a:gd name="connsiteY0-5990" fmla="*/ 4492350 h 4492350"/>
                <a:gd name="connsiteX1-5991" fmla="*/ 1765005 w 3662637"/>
                <a:gd name="connsiteY1-5992" fmla="*/ 3785190 h 4492350"/>
                <a:gd name="connsiteX2-5993" fmla="*/ 1275907 w 3662637"/>
                <a:gd name="connsiteY2-5994" fmla="*/ 3381153 h 4492350"/>
                <a:gd name="connsiteX3-5995" fmla="*/ 0 w 3662637"/>
                <a:gd name="connsiteY3-5996" fmla="*/ 2945218 h 4492350"/>
                <a:gd name="connsiteX4-5997" fmla="*/ 1111196 w 3662637"/>
                <a:gd name="connsiteY4-5998" fmla="*/ 3238920 h 4492350"/>
                <a:gd name="connsiteX5-5999" fmla="*/ 381560 w 3662637"/>
                <a:gd name="connsiteY5-6000" fmla="*/ 2432058 h 4492350"/>
                <a:gd name="connsiteX6-6001" fmla="*/ 1743740 w 3662637"/>
                <a:gd name="connsiteY6-6002" fmla="*/ 3519376 h 4492350"/>
                <a:gd name="connsiteX7-6003" fmla="*/ 1652058 w 3662637"/>
                <a:gd name="connsiteY7-6004" fmla="*/ 2400346 h 4492350"/>
                <a:gd name="connsiteX8-6005" fmla="*/ 28261 w 3662637"/>
                <a:gd name="connsiteY8-6006" fmla="*/ 742880 h 4492350"/>
                <a:gd name="connsiteX9-6007" fmla="*/ 956930 w 3662637"/>
                <a:gd name="connsiteY9-6008" fmla="*/ 1924493 h 4492350"/>
                <a:gd name="connsiteX10-6009" fmla="*/ 1061670 w 3662637"/>
                <a:gd name="connsiteY10-6010" fmla="*/ 857226 h 4492350"/>
                <a:gd name="connsiteX11-6011" fmla="*/ 1162773 w 3662637"/>
                <a:gd name="connsiteY11-6012" fmla="*/ 2026621 h 4492350"/>
                <a:gd name="connsiteX12-6013" fmla="*/ 1682742 w 3662637"/>
                <a:gd name="connsiteY12-6014" fmla="*/ 2194318 h 4492350"/>
                <a:gd name="connsiteX13-6015" fmla="*/ 1924493 w 3662637"/>
                <a:gd name="connsiteY13-6016" fmla="*/ 0 h 4492350"/>
                <a:gd name="connsiteX14-6017" fmla="*/ 1995936 w 3662637"/>
                <a:gd name="connsiteY14-6018" fmla="*/ 986216 h 4492350"/>
                <a:gd name="connsiteX15-6019" fmla="*/ 1850065 w 3662637"/>
                <a:gd name="connsiteY15-6020" fmla="*/ 2060385 h 4492350"/>
                <a:gd name="connsiteX16-6021" fmla="*/ 2025596 w 3662637"/>
                <a:gd name="connsiteY16-6022" fmla="*/ 3046321 h 4492350"/>
                <a:gd name="connsiteX17-6023" fmla="*/ 2615609 w 3662637"/>
                <a:gd name="connsiteY17-6024" fmla="*/ 2519916 h 4492350"/>
                <a:gd name="connsiteX18-6025" fmla="*/ 2881796 w 3662637"/>
                <a:gd name="connsiteY18-6026" fmla="*/ 1291762 h 4492350"/>
                <a:gd name="connsiteX19-6027" fmla="*/ 2774911 w 3662637"/>
                <a:gd name="connsiteY19-6028" fmla="*/ 2383091 h 4492350"/>
                <a:gd name="connsiteX20-6029" fmla="*/ 3662637 w 3662637"/>
                <a:gd name="connsiteY20-6030" fmla="*/ 1124252 h 4492350"/>
                <a:gd name="connsiteX21-6031" fmla="*/ 2190307 w 3662637"/>
                <a:gd name="connsiteY21-6032" fmla="*/ 3370521 h 4492350"/>
                <a:gd name="connsiteX22-6033" fmla="*/ 2137144 w 3662637"/>
                <a:gd name="connsiteY22-6034" fmla="*/ 3817088 h 4492350"/>
                <a:gd name="connsiteX23-6035" fmla="*/ 3285460 w 3662637"/>
                <a:gd name="connsiteY23-6036" fmla="*/ 3094074 h 4492350"/>
                <a:gd name="connsiteX24-6037" fmla="*/ 2162419 w 3662637"/>
                <a:gd name="connsiteY24-6038" fmla="*/ 4030951 h 4492350"/>
                <a:gd name="connsiteX25-6039" fmla="*/ 2200940 w 3662637"/>
                <a:gd name="connsiteY25-6040" fmla="*/ 4476307 h 4492350"/>
                <a:gd name="connsiteX26-6041" fmla="*/ 2186296 w 3662637"/>
                <a:gd name="connsiteY26-6042" fmla="*/ 4491415 h 4492350"/>
                <a:gd name="connsiteX27-6043" fmla="*/ 1711842 w 3662637"/>
                <a:gd name="connsiteY27-6044" fmla="*/ 4492350 h 4492350"/>
                <a:gd name="connsiteX0-6045" fmla="*/ 1711842 w 3662637"/>
                <a:gd name="connsiteY0-6046" fmla="*/ 4492350 h 4492350"/>
                <a:gd name="connsiteX1-6047" fmla="*/ 1765005 w 3662637"/>
                <a:gd name="connsiteY1-6048" fmla="*/ 3785190 h 4492350"/>
                <a:gd name="connsiteX2-6049" fmla="*/ 1275907 w 3662637"/>
                <a:gd name="connsiteY2-6050" fmla="*/ 3381153 h 4492350"/>
                <a:gd name="connsiteX3-6051" fmla="*/ 0 w 3662637"/>
                <a:gd name="connsiteY3-6052" fmla="*/ 2945218 h 4492350"/>
                <a:gd name="connsiteX4-6053" fmla="*/ 1111196 w 3662637"/>
                <a:gd name="connsiteY4-6054" fmla="*/ 3238920 h 4492350"/>
                <a:gd name="connsiteX5-6055" fmla="*/ 381560 w 3662637"/>
                <a:gd name="connsiteY5-6056" fmla="*/ 2432058 h 4492350"/>
                <a:gd name="connsiteX6-6057" fmla="*/ 1743740 w 3662637"/>
                <a:gd name="connsiteY6-6058" fmla="*/ 3519376 h 4492350"/>
                <a:gd name="connsiteX7-6059" fmla="*/ 1652058 w 3662637"/>
                <a:gd name="connsiteY7-6060" fmla="*/ 2400346 h 4492350"/>
                <a:gd name="connsiteX8-6061" fmla="*/ 28261 w 3662637"/>
                <a:gd name="connsiteY8-6062" fmla="*/ 742880 h 4492350"/>
                <a:gd name="connsiteX9-6063" fmla="*/ 956930 w 3662637"/>
                <a:gd name="connsiteY9-6064" fmla="*/ 1924493 h 4492350"/>
                <a:gd name="connsiteX10-6065" fmla="*/ 1061670 w 3662637"/>
                <a:gd name="connsiteY10-6066" fmla="*/ 857226 h 4492350"/>
                <a:gd name="connsiteX11-6067" fmla="*/ 1162773 w 3662637"/>
                <a:gd name="connsiteY11-6068" fmla="*/ 2026621 h 4492350"/>
                <a:gd name="connsiteX12-6069" fmla="*/ 1682742 w 3662637"/>
                <a:gd name="connsiteY12-6070" fmla="*/ 2194318 h 4492350"/>
                <a:gd name="connsiteX13-6071" fmla="*/ 1924493 w 3662637"/>
                <a:gd name="connsiteY13-6072" fmla="*/ 0 h 4492350"/>
                <a:gd name="connsiteX14-6073" fmla="*/ 1995936 w 3662637"/>
                <a:gd name="connsiteY14-6074" fmla="*/ 986216 h 4492350"/>
                <a:gd name="connsiteX15-6075" fmla="*/ 1850065 w 3662637"/>
                <a:gd name="connsiteY15-6076" fmla="*/ 2060385 h 4492350"/>
                <a:gd name="connsiteX16-6077" fmla="*/ 2025596 w 3662637"/>
                <a:gd name="connsiteY16-6078" fmla="*/ 3046321 h 4492350"/>
                <a:gd name="connsiteX17-6079" fmla="*/ 2615609 w 3662637"/>
                <a:gd name="connsiteY17-6080" fmla="*/ 2519916 h 4492350"/>
                <a:gd name="connsiteX18-6081" fmla="*/ 2881796 w 3662637"/>
                <a:gd name="connsiteY18-6082" fmla="*/ 1291762 h 4492350"/>
                <a:gd name="connsiteX19-6083" fmla="*/ 2774911 w 3662637"/>
                <a:gd name="connsiteY19-6084" fmla="*/ 2383091 h 4492350"/>
                <a:gd name="connsiteX20-6085" fmla="*/ 3662637 w 3662637"/>
                <a:gd name="connsiteY20-6086" fmla="*/ 1124252 h 4492350"/>
                <a:gd name="connsiteX21-6087" fmla="*/ 2190307 w 3662637"/>
                <a:gd name="connsiteY21-6088" fmla="*/ 3370521 h 4492350"/>
                <a:gd name="connsiteX22-6089" fmla="*/ 2137144 w 3662637"/>
                <a:gd name="connsiteY22-6090" fmla="*/ 3817088 h 4492350"/>
                <a:gd name="connsiteX23-6091" fmla="*/ 3285460 w 3662637"/>
                <a:gd name="connsiteY23-6092" fmla="*/ 3094074 h 4492350"/>
                <a:gd name="connsiteX24-6093" fmla="*/ 2162419 w 3662637"/>
                <a:gd name="connsiteY24-6094" fmla="*/ 4030951 h 4492350"/>
                <a:gd name="connsiteX25-6095" fmla="*/ 2200940 w 3662637"/>
                <a:gd name="connsiteY25-6096" fmla="*/ 4476307 h 4492350"/>
                <a:gd name="connsiteX26-6097" fmla="*/ 2186296 w 3662637"/>
                <a:gd name="connsiteY26-6098" fmla="*/ 4491415 h 4492350"/>
                <a:gd name="connsiteX27-6099" fmla="*/ 1711842 w 3662637"/>
                <a:gd name="connsiteY27-6100" fmla="*/ 4492350 h 4492350"/>
                <a:gd name="connsiteX0-6101" fmla="*/ 1711842 w 3662637"/>
                <a:gd name="connsiteY0-6102" fmla="*/ 4492350 h 4492350"/>
                <a:gd name="connsiteX1-6103" fmla="*/ 1765005 w 3662637"/>
                <a:gd name="connsiteY1-6104" fmla="*/ 3785190 h 4492350"/>
                <a:gd name="connsiteX2-6105" fmla="*/ 1275907 w 3662637"/>
                <a:gd name="connsiteY2-6106" fmla="*/ 3381153 h 4492350"/>
                <a:gd name="connsiteX3-6107" fmla="*/ 0 w 3662637"/>
                <a:gd name="connsiteY3-6108" fmla="*/ 2945218 h 4492350"/>
                <a:gd name="connsiteX4-6109" fmla="*/ 1111196 w 3662637"/>
                <a:gd name="connsiteY4-6110" fmla="*/ 3238920 h 4492350"/>
                <a:gd name="connsiteX5-6111" fmla="*/ 381560 w 3662637"/>
                <a:gd name="connsiteY5-6112" fmla="*/ 2432058 h 4492350"/>
                <a:gd name="connsiteX6-6113" fmla="*/ 1743740 w 3662637"/>
                <a:gd name="connsiteY6-6114" fmla="*/ 3519376 h 4492350"/>
                <a:gd name="connsiteX7-6115" fmla="*/ 1652058 w 3662637"/>
                <a:gd name="connsiteY7-6116" fmla="*/ 2400346 h 4492350"/>
                <a:gd name="connsiteX8-6117" fmla="*/ 28261 w 3662637"/>
                <a:gd name="connsiteY8-6118" fmla="*/ 742880 h 4492350"/>
                <a:gd name="connsiteX9-6119" fmla="*/ 956930 w 3662637"/>
                <a:gd name="connsiteY9-6120" fmla="*/ 1924493 h 4492350"/>
                <a:gd name="connsiteX10-6121" fmla="*/ 1061670 w 3662637"/>
                <a:gd name="connsiteY10-6122" fmla="*/ 857226 h 4492350"/>
                <a:gd name="connsiteX11-6123" fmla="*/ 1162773 w 3662637"/>
                <a:gd name="connsiteY11-6124" fmla="*/ 2026621 h 4492350"/>
                <a:gd name="connsiteX12-6125" fmla="*/ 1682742 w 3662637"/>
                <a:gd name="connsiteY12-6126" fmla="*/ 2194318 h 4492350"/>
                <a:gd name="connsiteX13-6127" fmla="*/ 1924493 w 3662637"/>
                <a:gd name="connsiteY13-6128" fmla="*/ 0 h 4492350"/>
                <a:gd name="connsiteX14-6129" fmla="*/ 1995936 w 3662637"/>
                <a:gd name="connsiteY14-6130" fmla="*/ 986216 h 4492350"/>
                <a:gd name="connsiteX15-6131" fmla="*/ 1850065 w 3662637"/>
                <a:gd name="connsiteY15-6132" fmla="*/ 2060385 h 4492350"/>
                <a:gd name="connsiteX16-6133" fmla="*/ 2025596 w 3662637"/>
                <a:gd name="connsiteY16-6134" fmla="*/ 3046321 h 4492350"/>
                <a:gd name="connsiteX17-6135" fmla="*/ 2615609 w 3662637"/>
                <a:gd name="connsiteY17-6136" fmla="*/ 2519916 h 4492350"/>
                <a:gd name="connsiteX18-6137" fmla="*/ 2881796 w 3662637"/>
                <a:gd name="connsiteY18-6138" fmla="*/ 1291762 h 4492350"/>
                <a:gd name="connsiteX19-6139" fmla="*/ 2774911 w 3662637"/>
                <a:gd name="connsiteY19-6140" fmla="*/ 2383091 h 4492350"/>
                <a:gd name="connsiteX20-6141" fmla="*/ 3662637 w 3662637"/>
                <a:gd name="connsiteY20-6142" fmla="*/ 1124252 h 4492350"/>
                <a:gd name="connsiteX21-6143" fmla="*/ 2190307 w 3662637"/>
                <a:gd name="connsiteY21-6144" fmla="*/ 3370521 h 4492350"/>
                <a:gd name="connsiteX22-6145" fmla="*/ 2137144 w 3662637"/>
                <a:gd name="connsiteY22-6146" fmla="*/ 3817088 h 4492350"/>
                <a:gd name="connsiteX23-6147" fmla="*/ 3285460 w 3662637"/>
                <a:gd name="connsiteY23-6148" fmla="*/ 3094074 h 4492350"/>
                <a:gd name="connsiteX24-6149" fmla="*/ 2162419 w 3662637"/>
                <a:gd name="connsiteY24-6150" fmla="*/ 4030951 h 4492350"/>
                <a:gd name="connsiteX25-6151" fmla="*/ 2200940 w 3662637"/>
                <a:gd name="connsiteY25-6152" fmla="*/ 4476307 h 4492350"/>
                <a:gd name="connsiteX26-6153" fmla="*/ 2186296 w 3662637"/>
                <a:gd name="connsiteY26-6154" fmla="*/ 4491415 h 4492350"/>
                <a:gd name="connsiteX27-6155" fmla="*/ 1711842 w 3662637"/>
                <a:gd name="connsiteY27-6156" fmla="*/ 4492350 h 4492350"/>
                <a:gd name="connsiteX0-6157" fmla="*/ 1711842 w 3662637"/>
                <a:gd name="connsiteY0-6158" fmla="*/ 4492350 h 4492350"/>
                <a:gd name="connsiteX1-6159" fmla="*/ 1765005 w 3662637"/>
                <a:gd name="connsiteY1-6160" fmla="*/ 3785190 h 4492350"/>
                <a:gd name="connsiteX2-6161" fmla="*/ 1275907 w 3662637"/>
                <a:gd name="connsiteY2-6162" fmla="*/ 3381153 h 4492350"/>
                <a:gd name="connsiteX3-6163" fmla="*/ 0 w 3662637"/>
                <a:gd name="connsiteY3-6164" fmla="*/ 2945218 h 4492350"/>
                <a:gd name="connsiteX4-6165" fmla="*/ 1111196 w 3662637"/>
                <a:gd name="connsiteY4-6166" fmla="*/ 3238920 h 4492350"/>
                <a:gd name="connsiteX5-6167" fmla="*/ 381560 w 3662637"/>
                <a:gd name="connsiteY5-6168" fmla="*/ 2432058 h 4492350"/>
                <a:gd name="connsiteX6-6169" fmla="*/ 1743740 w 3662637"/>
                <a:gd name="connsiteY6-6170" fmla="*/ 3519376 h 4492350"/>
                <a:gd name="connsiteX7-6171" fmla="*/ 1652058 w 3662637"/>
                <a:gd name="connsiteY7-6172" fmla="*/ 2400346 h 4492350"/>
                <a:gd name="connsiteX8-6173" fmla="*/ 28261 w 3662637"/>
                <a:gd name="connsiteY8-6174" fmla="*/ 742880 h 4492350"/>
                <a:gd name="connsiteX9-6175" fmla="*/ 956930 w 3662637"/>
                <a:gd name="connsiteY9-6176" fmla="*/ 1924493 h 4492350"/>
                <a:gd name="connsiteX10-6177" fmla="*/ 1061670 w 3662637"/>
                <a:gd name="connsiteY10-6178" fmla="*/ 857226 h 4492350"/>
                <a:gd name="connsiteX11-6179" fmla="*/ 1162773 w 3662637"/>
                <a:gd name="connsiteY11-6180" fmla="*/ 2026621 h 4492350"/>
                <a:gd name="connsiteX12-6181" fmla="*/ 1682742 w 3662637"/>
                <a:gd name="connsiteY12-6182" fmla="*/ 2194318 h 4492350"/>
                <a:gd name="connsiteX13-6183" fmla="*/ 1924493 w 3662637"/>
                <a:gd name="connsiteY13-6184" fmla="*/ 0 h 4492350"/>
                <a:gd name="connsiteX14-6185" fmla="*/ 1995936 w 3662637"/>
                <a:gd name="connsiteY14-6186" fmla="*/ 986216 h 4492350"/>
                <a:gd name="connsiteX15-6187" fmla="*/ 1850065 w 3662637"/>
                <a:gd name="connsiteY15-6188" fmla="*/ 2060385 h 4492350"/>
                <a:gd name="connsiteX16-6189" fmla="*/ 2025596 w 3662637"/>
                <a:gd name="connsiteY16-6190" fmla="*/ 3046321 h 4492350"/>
                <a:gd name="connsiteX17-6191" fmla="*/ 2615609 w 3662637"/>
                <a:gd name="connsiteY17-6192" fmla="*/ 2519916 h 4492350"/>
                <a:gd name="connsiteX18-6193" fmla="*/ 2881796 w 3662637"/>
                <a:gd name="connsiteY18-6194" fmla="*/ 1291762 h 4492350"/>
                <a:gd name="connsiteX19-6195" fmla="*/ 2774911 w 3662637"/>
                <a:gd name="connsiteY19-6196" fmla="*/ 2383091 h 4492350"/>
                <a:gd name="connsiteX20-6197" fmla="*/ 3662637 w 3662637"/>
                <a:gd name="connsiteY20-6198" fmla="*/ 1124252 h 4492350"/>
                <a:gd name="connsiteX21-6199" fmla="*/ 2190307 w 3662637"/>
                <a:gd name="connsiteY21-6200" fmla="*/ 3370521 h 4492350"/>
                <a:gd name="connsiteX22-6201" fmla="*/ 2137144 w 3662637"/>
                <a:gd name="connsiteY22-6202" fmla="*/ 3817088 h 4492350"/>
                <a:gd name="connsiteX23-6203" fmla="*/ 3285460 w 3662637"/>
                <a:gd name="connsiteY23-6204" fmla="*/ 3094074 h 4492350"/>
                <a:gd name="connsiteX24-6205" fmla="*/ 2162419 w 3662637"/>
                <a:gd name="connsiteY24-6206" fmla="*/ 4030951 h 4492350"/>
                <a:gd name="connsiteX25-6207" fmla="*/ 2200940 w 3662637"/>
                <a:gd name="connsiteY25-6208" fmla="*/ 4476307 h 4492350"/>
                <a:gd name="connsiteX26-6209" fmla="*/ 2186296 w 3662637"/>
                <a:gd name="connsiteY26-6210" fmla="*/ 4491415 h 4492350"/>
                <a:gd name="connsiteX27-6211" fmla="*/ 1711842 w 3662637"/>
                <a:gd name="connsiteY27-6212" fmla="*/ 4492350 h 4492350"/>
                <a:gd name="connsiteX0-6213" fmla="*/ 1687779 w 3638574"/>
                <a:gd name="connsiteY0-6214" fmla="*/ 4492350 h 4492350"/>
                <a:gd name="connsiteX1-6215" fmla="*/ 1740942 w 3638574"/>
                <a:gd name="connsiteY1-6216" fmla="*/ 3785190 h 4492350"/>
                <a:gd name="connsiteX2-6217" fmla="*/ 1251844 w 3638574"/>
                <a:gd name="connsiteY2-6218" fmla="*/ 3381153 h 4492350"/>
                <a:gd name="connsiteX3-6219" fmla="*/ 0 w 3638574"/>
                <a:gd name="connsiteY3-6220" fmla="*/ 2917145 h 4492350"/>
                <a:gd name="connsiteX4-6221" fmla="*/ 1087133 w 3638574"/>
                <a:gd name="connsiteY4-6222" fmla="*/ 3238920 h 4492350"/>
                <a:gd name="connsiteX5-6223" fmla="*/ 357497 w 3638574"/>
                <a:gd name="connsiteY5-6224" fmla="*/ 2432058 h 4492350"/>
                <a:gd name="connsiteX6-6225" fmla="*/ 1719677 w 3638574"/>
                <a:gd name="connsiteY6-6226" fmla="*/ 3519376 h 4492350"/>
                <a:gd name="connsiteX7-6227" fmla="*/ 1627995 w 3638574"/>
                <a:gd name="connsiteY7-6228" fmla="*/ 2400346 h 4492350"/>
                <a:gd name="connsiteX8-6229" fmla="*/ 4198 w 3638574"/>
                <a:gd name="connsiteY8-6230" fmla="*/ 742880 h 4492350"/>
                <a:gd name="connsiteX9-6231" fmla="*/ 932867 w 3638574"/>
                <a:gd name="connsiteY9-6232" fmla="*/ 1924493 h 4492350"/>
                <a:gd name="connsiteX10-6233" fmla="*/ 1037607 w 3638574"/>
                <a:gd name="connsiteY10-6234" fmla="*/ 857226 h 4492350"/>
                <a:gd name="connsiteX11-6235" fmla="*/ 1138710 w 3638574"/>
                <a:gd name="connsiteY11-6236" fmla="*/ 2026621 h 4492350"/>
                <a:gd name="connsiteX12-6237" fmla="*/ 1658679 w 3638574"/>
                <a:gd name="connsiteY12-6238" fmla="*/ 2194318 h 4492350"/>
                <a:gd name="connsiteX13-6239" fmla="*/ 1900430 w 3638574"/>
                <a:gd name="connsiteY13-6240" fmla="*/ 0 h 4492350"/>
                <a:gd name="connsiteX14-6241" fmla="*/ 1971873 w 3638574"/>
                <a:gd name="connsiteY14-6242" fmla="*/ 986216 h 4492350"/>
                <a:gd name="connsiteX15-6243" fmla="*/ 1826002 w 3638574"/>
                <a:gd name="connsiteY15-6244" fmla="*/ 2060385 h 4492350"/>
                <a:gd name="connsiteX16-6245" fmla="*/ 2001533 w 3638574"/>
                <a:gd name="connsiteY16-6246" fmla="*/ 3046321 h 4492350"/>
                <a:gd name="connsiteX17-6247" fmla="*/ 2591546 w 3638574"/>
                <a:gd name="connsiteY17-6248" fmla="*/ 2519916 h 4492350"/>
                <a:gd name="connsiteX18-6249" fmla="*/ 2857733 w 3638574"/>
                <a:gd name="connsiteY18-6250" fmla="*/ 1291762 h 4492350"/>
                <a:gd name="connsiteX19-6251" fmla="*/ 2750848 w 3638574"/>
                <a:gd name="connsiteY19-6252" fmla="*/ 2383091 h 4492350"/>
                <a:gd name="connsiteX20-6253" fmla="*/ 3638574 w 3638574"/>
                <a:gd name="connsiteY20-6254" fmla="*/ 1124252 h 4492350"/>
                <a:gd name="connsiteX21-6255" fmla="*/ 2166244 w 3638574"/>
                <a:gd name="connsiteY21-6256" fmla="*/ 3370521 h 4492350"/>
                <a:gd name="connsiteX22-6257" fmla="*/ 2113081 w 3638574"/>
                <a:gd name="connsiteY22-6258" fmla="*/ 3817088 h 4492350"/>
                <a:gd name="connsiteX23-6259" fmla="*/ 3261397 w 3638574"/>
                <a:gd name="connsiteY23-6260" fmla="*/ 3094074 h 4492350"/>
                <a:gd name="connsiteX24-6261" fmla="*/ 2138356 w 3638574"/>
                <a:gd name="connsiteY24-6262" fmla="*/ 4030951 h 4492350"/>
                <a:gd name="connsiteX25-6263" fmla="*/ 2176877 w 3638574"/>
                <a:gd name="connsiteY25-6264" fmla="*/ 4476307 h 4492350"/>
                <a:gd name="connsiteX26-6265" fmla="*/ 2162233 w 3638574"/>
                <a:gd name="connsiteY26-6266" fmla="*/ 4491415 h 4492350"/>
                <a:gd name="connsiteX27-6267" fmla="*/ 1687779 w 3638574"/>
                <a:gd name="connsiteY27-6268" fmla="*/ 4492350 h 4492350"/>
                <a:gd name="connsiteX0-6269" fmla="*/ 1687779 w 3638574"/>
                <a:gd name="connsiteY0-6270" fmla="*/ 4492350 h 4492350"/>
                <a:gd name="connsiteX1-6271" fmla="*/ 1740942 w 3638574"/>
                <a:gd name="connsiteY1-6272" fmla="*/ 3785190 h 4492350"/>
                <a:gd name="connsiteX2-6273" fmla="*/ 1251844 w 3638574"/>
                <a:gd name="connsiteY2-6274" fmla="*/ 3381153 h 4492350"/>
                <a:gd name="connsiteX3-6275" fmla="*/ 0 w 3638574"/>
                <a:gd name="connsiteY3-6276" fmla="*/ 2917145 h 4492350"/>
                <a:gd name="connsiteX4-6277" fmla="*/ 1087133 w 3638574"/>
                <a:gd name="connsiteY4-6278" fmla="*/ 3238920 h 4492350"/>
                <a:gd name="connsiteX5-6279" fmla="*/ 357497 w 3638574"/>
                <a:gd name="connsiteY5-6280" fmla="*/ 2432058 h 4492350"/>
                <a:gd name="connsiteX6-6281" fmla="*/ 1719677 w 3638574"/>
                <a:gd name="connsiteY6-6282" fmla="*/ 3519376 h 4492350"/>
                <a:gd name="connsiteX7-6283" fmla="*/ 1627995 w 3638574"/>
                <a:gd name="connsiteY7-6284" fmla="*/ 2400346 h 4492350"/>
                <a:gd name="connsiteX8-6285" fmla="*/ 4198 w 3638574"/>
                <a:gd name="connsiteY8-6286" fmla="*/ 742880 h 4492350"/>
                <a:gd name="connsiteX9-6287" fmla="*/ 932867 w 3638574"/>
                <a:gd name="connsiteY9-6288" fmla="*/ 1924493 h 4492350"/>
                <a:gd name="connsiteX10-6289" fmla="*/ 1037607 w 3638574"/>
                <a:gd name="connsiteY10-6290" fmla="*/ 857226 h 4492350"/>
                <a:gd name="connsiteX11-6291" fmla="*/ 1138710 w 3638574"/>
                <a:gd name="connsiteY11-6292" fmla="*/ 2026621 h 4492350"/>
                <a:gd name="connsiteX12-6293" fmla="*/ 1658679 w 3638574"/>
                <a:gd name="connsiteY12-6294" fmla="*/ 2194318 h 4492350"/>
                <a:gd name="connsiteX13-6295" fmla="*/ 1900430 w 3638574"/>
                <a:gd name="connsiteY13-6296" fmla="*/ 0 h 4492350"/>
                <a:gd name="connsiteX14-6297" fmla="*/ 1971873 w 3638574"/>
                <a:gd name="connsiteY14-6298" fmla="*/ 986216 h 4492350"/>
                <a:gd name="connsiteX15-6299" fmla="*/ 1826002 w 3638574"/>
                <a:gd name="connsiteY15-6300" fmla="*/ 2060385 h 4492350"/>
                <a:gd name="connsiteX16-6301" fmla="*/ 2001533 w 3638574"/>
                <a:gd name="connsiteY16-6302" fmla="*/ 3046321 h 4492350"/>
                <a:gd name="connsiteX17-6303" fmla="*/ 2591546 w 3638574"/>
                <a:gd name="connsiteY17-6304" fmla="*/ 2519916 h 4492350"/>
                <a:gd name="connsiteX18-6305" fmla="*/ 2857733 w 3638574"/>
                <a:gd name="connsiteY18-6306" fmla="*/ 1291762 h 4492350"/>
                <a:gd name="connsiteX19-6307" fmla="*/ 2750848 w 3638574"/>
                <a:gd name="connsiteY19-6308" fmla="*/ 2383091 h 4492350"/>
                <a:gd name="connsiteX20-6309" fmla="*/ 3638574 w 3638574"/>
                <a:gd name="connsiteY20-6310" fmla="*/ 1124252 h 4492350"/>
                <a:gd name="connsiteX21-6311" fmla="*/ 2166244 w 3638574"/>
                <a:gd name="connsiteY21-6312" fmla="*/ 3370521 h 4492350"/>
                <a:gd name="connsiteX22-6313" fmla="*/ 2113081 w 3638574"/>
                <a:gd name="connsiteY22-6314" fmla="*/ 3817088 h 4492350"/>
                <a:gd name="connsiteX23-6315" fmla="*/ 3261397 w 3638574"/>
                <a:gd name="connsiteY23-6316" fmla="*/ 3094074 h 4492350"/>
                <a:gd name="connsiteX24-6317" fmla="*/ 2138356 w 3638574"/>
                <a:gd name="connsiteY24-6318" fmla="*/ 4030951 h 4492350"/>
                <a:gd name="connsiteX25-6319" fmla="*/ 2176877 w 3638574"/>
                <a:gd name="connsiteY25-6320" fmla="*/ 4476307 h 4492350"/>
                <a:gd name="connsiteX26-6321" fmla="*/ 2162233 w 3638574"/>
                <a:gd name="connsiteY26-6322" fmla="*/ 4491415 h 4492350"/>
                <a:gd name="connsiteX27-6323" fmla="*/ 1687779 w 3638574"/>
                <a:gd name="connsiteY27-6324" fmla="*/ 4492350 h 4492350"/>
                <a:gd name="connsiteX0-6325" fmla="*/ 1687779 w 3638574"/>
                <a:gd name="connsiteY0-6326" fmla="*/ 4492350 h 4492350"/>
                <a:gd name="connsiteX1-6327" fmla="*/ 1740942 w 3638574"/>
                <a:gd name="connsiteY1-6328" fmla="*/ 3785190 h 4492350"/>
                <a:gd name="connsiteX2-6329" fmla="*/ 1251844 w 3638574"/>
                <a:gd name="connsiteY2-6330" fmla="*/ 3381153 h 4492350"/>
                <a:gd name="connsiteX3-6331" fmla="*/ 0 w 3638574"/>
                <a:gd name="connsiteY3-6332" fmla="*/ 2917145 h 4492350"/>
                <a:gd name="connsiteX4-6333" fmla="*/ 1087133 w 3638574"/>
                <a:gd name="connsiteY4-6334" fmla="*/ 3238920 h 4492350"/>
                <a:gd name="connsiteX5-6335" fmla="*/ 357497 w 3638574"/>
                <a:gd name="connsiteY5-6336" fmla="*/ 2432058 h 4492350"/>
                <a:gd name="connsiteX6-6337" fmla="*/ 1719677 w 3638574"/>
                <a:gd name="connsiteY6-6338" fmla="*/ 3519376 h 4492350"/>
                <a:gd name="connsiteX7-6339" fmla="*/ 1627995 w 3638574"/>
                <a:gd name="connsiteY7-6340" fmla="*/ 2400346 h 4492350"/>
                <a:gd name="connsiteX8-6341" fmla="*/ 4198 w 3638574"/>
                <a:gd name="connsiteY8-6342" fmla="*/ 742880 h 4492350"/>
                <a:gd name="connsiteX9-6343" fmla="*/ 932867 w 3638574"/>
                <a:gd name="connsiteY9-6344" fmla="*/ 1924493 h 4492350"/>
                <a:gd name="connsiteX10-6345" fmla="*/ 1037607 w 3638574"/>
                <a:gd name="connsiteY10-6346" fmla="*/ 857226 h 4492350"/>
                <a:gd name="connsiteX11-6347" fmla="*/ 1138710 w 3638574"/>
                <a:gd name="connsiteY11-6348" fmla="*/ 2026621 h 4492350"/>
                <a:gd name="connsiteX12-6349" fmla="*/ 1658679 w 3638574"/>
                <a:gd name="connsiteY12-6350" fmla="*/ 2194318 h 4492350"/>
                <a:gd name="connsiteX13-6351" fmla="*/ 1900430 w 3638574"/>
                <a:gd name="connsiteY13-6352" fmla="*/ 0 h 4492350"/>
                <a:gd name="connsiteX14-6353" fmla="*/ 1971873 w 3638574"/>
                <a:gd name="connsiteY14-6354" fmla="*/ 986216 h 4492350"/>
                <a:gd name="connsiteX15-6355" fmla="*/ 1826002 w 3638574"/>
                <a:gd name="connsiteY15-6356" fmla="*/ 2060385 h 4492350"/>
                <a:gd name="connsiteX16-6357" fmla="*/ 2001533 w 3638574"/>
                <a:gd name="connsiteY16-6358" fmla="*/ 3046321 h 4492350"/>
                <a:gd name="connsiteX17-6359" fmla="*/ 2591546 w 3638574"/>
                <a:gd name="connsiteY17-6360" fmla="*/ 2519916 h 4492350"/>
                <a:gd name="connsiteX18-6361" fmla="*/ 2857733 w 3638574"/>
                <a:gd name="connsiteY18-6362" fmla="*/ 1291762 h 4492350"/>
                <a:gd name="connsiteX19-6363" fmla="*/ 2750848 w 3638574"/>
                <a:gd name="connsiteY19-6364" fmla="*/ 2383091 h 4492350"/>
                <a:gd name="connsiteX20-6365" fmla="*/ 3638574 w 3638574"/>
                <a:gd name="connsiteY20-6366" fmla="*/ 1124252 h 4492350"/>
                <a:gd name="connsiteX21-6367" fmla="*/ 2166244 w 3638574"/>
                <a:gd name="connsiteY21-6368" fmla="*/ 3370521 h 4492350"/>
                <a:gd name="connsiteX22-6369" fmla="*/ 2113081 w 3638574"/>
                <a:gd name="connsiteY22-6370" fmla="*/ 3817088 h 4492350"/>
                <a:gd name="connsiteX23-6371" fmla="*/ 3261397 w 3638574"/>
                <a:gd name="connsiteY23-6372" fmla="*/ 3094074 h 4492350"/>
                <a:gd name="connsiteX24-6373" fmla="*/ 2138356 w 3638574"/>
                <a:gd name="connsiteY24-6374" fmla="*/ 4030951 h 4492350"/>
                <a:gd name="connsiteX25-6375" fmla="*/ 2176877 w 3638574"/>
                <a:gd name="connsiteY25-6376" fmla="*/ 4476307 h 4492350"/>
                <a:gd name="connsiteX26-6377" fmla="*/ 2162233 w 3638574"/>
                <a:gd name="connsiteY26-6378" fmla="*/ 4491415 h 4492350"/>
                <a:gd name="connsiteX27-6379" fmla="*/ 1687779 w 3638574"/>
                <a:gd name="connsiteY27-6380" fmla="*/ 4492350 h 4492350"/>
                <a:gd name="connsiteX0-6381" fmla="*/ 1687779 w 3638574"/>
                <a:gd name="connsiteY0-6382" fmla="*/ 4492350 h 4492350"/>
                <a:gd name="connsiteX1-6383" fmla="*/ 1740942 w 3638574"/>
                <a:gd name="connsiteY1-6384" fmla="*/ 3785190 h 4492350"/>
                <a:gd name="connsiteX2-6385" fmla="*/ 1239812 w 3638574"/>
                <a:gd name="connsiteY2-6386" fmla="*/ 3369121 h 4492350"/>
                <a:gd name="connsiteX3-6387" fmla="*/ 0 w 3638574"/>
                <a:gd name="connsiteY3-6388" fmla="*/ 2917145 h 4492350"/>
                <a:gd name="connsiteX4-6389" fmla="*/ 1087133 w 3638574"/>
                <a:gd name="connsiteY4-6390" fmla="*/ 3238920 h 4492350"/>
                <a:gd name="connsiteX5-6391" fmla="*/ 357497 w 3638574"/>
                <a:gd name="connsiteY5-6392" fmla="*/ 2432058 h 4492350"/>
                <a:gd name="connsiteX6-6393" fmla="*/ 1719677 w 3638574"/>
                <a:gd name="connsiteY6-6394" fmla="*/ 3519376 h 4492350"/>
                <a:gd name="connsiteX7-6395" fmla="*/ 1627995 w 3638574"/>
                <a:gd name="connsiteY7-6396" fmla="*/ 2400346 h 4492350"/>
                <a:gd name="connsiteX8-6397" fmla="*/ 4198 w 3638574"/>
                <a:gd name="connsiteY8-6398" fmla="*/ 742880 h 4492350"/>
                <a:gd name="connsiteX9-6399" fmla="*/ 932867 w 3638574"/>
                <a:gd name="connsiteY9-6400" fmla="*/ 1924493 h 4492350"/>
                <a:gd name="connsiteX10-6401" fmla="*/ 1037607 w 3638574"/>
                <a:gd name="connsiteY10-6402" fmla="*/ 857226 h 4492350"/>
                <a:gd name="connsiteX11-6403" fmla="*/ 1138710 w 3638574"/>
                <a:gd name="connsiteY11-6404" fmla="*/ 2026621 h 4492350"/>
                <a:gd name="connsiteX12-6405" fmla="*/ 1658679 w 3638574"/>
                <a:gd name="connsiteY12-6406" fmla="*/ 2194318 h 4492350"/>
                <a:gd name="connsiteX13-6407" fmla="*/ 1900430 w 3638574"/>
                <a:gd name="connsiteY13-6408" fmla="*/ 0 h 4492350"/>
                <a:gd name="connsiteX14-6409" fmla="*/ 1971873 w 3638574"/>
                <a:gd name="connsiteY14-6410" fmla="*/ 986216 h 4492350"/>
                <a:gd name="connsiteX15-6411" fmla="*/ 1826002 w 3638574"/>
                <a:gd name="connsiteY15-6412" fmla="*/ 2060385 h 4492350"/>
                <a:gd name="connsiteX16-6413" fmla="*/ 2001533 w 3638574"/>
                <a:gd name="connsiteY16-6414" fmla="*/ 3046321 h 4492350"/>
                <a:gd name="connsiteX17-6415" fmla="*/ 2591546 w 3638574"/>
                <a:gd name="connsiteY17-6416" fmla="*/ 2519916 h 4492350"/>
                <a:gd name="connsiteX18-6417" fmla="*/ 2857733 w 3638574"/>
                <a:gd name="connsiteY18-6418" fmla="*/ 1291762 h 4492350"/>
                <a:gd name="connsiteX19-6419" fmla="*/ 2750848 w 3638574"/>
                <a:gd name="connsiteY19-6420" fmla="*/ 2383091 h 4492350"/>
                <a:gd name="connsiteX20-6421" fmla="*/ 3638574 w 3638574"/>
                <a:gd name="connsiteY20-6422" fmla="*/ 1124252 h 4492350"/>
                <a:gd name="connsiteX21-6423" fmla="*/ 2166244 w 3638574"/>
                <a:gd name="connsiteY21-6424" fmla="*/ 3370521 h 4492350"/>
                <a:gd name="connsiteX22-6425" fmla="*/ 2113081 w 3638574"/>
                <a:gd name="connsiteY22-6426" fmla="*/ 3817088 h 4492350"/>
                <a:gd name="connsiteX23-6427" fmla="*/ 3261397 w 3638574"/>
                <a:gd name="connsiteY23-6428" fmla="*/ 3094074 h 4492350"/>
                <a:gd name="connsiteX24-6429" fmla="*/ 2138356 w 3638574"/>
                <a:gd name="connsiteY24-6430" fmla="*/ 4030951 h 4492350"/>
                <a:gd name="connsiteX25-6431" fmla="*/ 2176877 w 3638574"/>
                <a:gd name="connsiteY25-6432" fmla="*/ 4476307 h 4492350"/>
                <a:gd name="connsiteX26-6433" fmla="*/ 2162233 w 3638574"/>
                <a:gd name="connsiteY26-6434" fmla="*/ 4491415 h 4492350"/>
                <a:gd name="connsiteX27-6435" fmla="*/ 1687779 w 3638574"/>
                <a:gd name="connsiteY27-6436" fmla="*/ 4492350 h 4492350"/>
                <a:gd name="connsiteX0-6437" fmla="*/ 1687779 w 3638574"/>
                <a:gd name="connsiteY0-6438" fmla="*/ 4492350 h 4492350"/>
                <a:gd name="connsiteX1-6439" fmla="*/ 1740942 w 3638574"/>
                <a:gd name="connsiteY1-6440" fmla="*/ 3785190 h 4492350"/>
                <a:gd name="connsiteX2-6441" fmla="*/ 1239812 w 3638574"/>
                <a:gd name="connsiteY2-6442" fmla="*/ 3369121 h 4492350"/>
                <a:gd name="connsiteX3-6443" fmla="*/ 0 w 3638574"/>
                <a:gd name="connsiteY3-6444" fmla="*/ 2917145 h 4492350"/>
                <a:gd name="connsiteX4-6445" fmla="*/ 1087133 w 3638574"/>
                <a:gd name="connsiteY4-6446" fmla="*/ 3238920 h 4492350"/>
                <a:gd name="connsiteX5-6447" fmla="*/ 357497 w 3638574"/>
                <a:gd name="connsiteY5-6448" fmla="*/ 2432058 h 4492350"/>
                <a:gd name="connsiteX6-6449" fmla="*/ 1719677 w 3638574"/>
                <a:gd name="connsiteY6-6450" fmla="*/ 3519376 h 4492350"/>
                <a:gd name="connsiteX7-6451" fmla="*/ 1627995 w 3638574"/>
                <a:gd name="connsiteY7-6452" fmla="*/ 2400346 h 4492350"/>
                <a:gd name="connsiteX8-6453" fmla="*/ 4198 w 3638574"/>
                <a:gd name="connsiteY8-6454" fmla="*/ 742880 h 4492350"/>
                <a:gd name="connsiteX9-6455" fmla="*/ 932867 w 3638574"/>
                <a:gd name="connsiteY9-6456" fmla="*/ 1924493 h 4492350"/>
                <a:gd name="connsiteX10-6457" fmla="*/ 1037607 w 3638574"/>
                <a:gd name="connsiteY10-6458" fmla="*/ 857226 h 4492350"/>
                <a:gd name="connsiteX11-6459" fmla="*/ 1138710 w 3638574"/>
                <a:gd name="connsiteY11-6460" fmla="*/ 2026621 h 4492350"/>
                <a:gd name="connsiteX12-6461" fmla="*/ 1658679 w 3638574"/>
                <a:gd name="connsiteY12-6462" fmla="*/ 2194318 h 4492350"/>
                <a:gd name="connsiteX13-6463" fmla="*/ 1900430 w 3638574"/>
                <a:gd name="connsiteY13-6464" fmla="*/ 0 h 4492350"/>
                <a:gd name="connsiteX14-6465" fmla="*/ 1971873 w 3638574"/>
                <a:gd name="connsiteY14-6466" fmla="*/ 986216 h 4492350"/>
                <a:gd name="connsiteX15-6467" fmla="*/ 1826002 w 3638574"/>
                <a:gd name="connsiteY15-6468" fmla="*/ 2060385 h 4492350"/>
                <a:gd name="connsiteX16-6469" fmla="*/ 2001533 w 3638574"/>
                <a:gd name="connsiteY16-6470" fmla="*/ 3046321 h 4492350"/>
                <a:gd name="connsiteX17-6471" fmla="*/ 2591546 w 3638574"/>
                <a:gd name="connsiteY17-6472" fmla="*/ 2519916 h 4492350"/>
                <a:gd name="connsiteX18-6473" fmla="*/ 2857733 w 3638574"/>
                <a:gd name="connsiteY18-6474" fmla="*/ 1291762 h 4492350"/>
                <a:gd name="connsiteX19-6475" fmla="*/ 2750848 w 3638574"/>
                <a:gd name="connsiteY19-6476" fmla="*/ 2383091 h 4492350"/>
                <a:gd name="connsiteX20-6477" fmla="*/ 3638574 w 3638574"/>
                <a:gd name="connsiteY20-6478" fmla="*/ 1124252 h 4492350"/>
                <a:gd name="connsiteX21-6479" fmla="*/ 2166244 w 3638574"/>
                <a:gd name="connsiteY21-6480" fmla="*/ 3370521 h 4492350"/>
                <a:gd name="connsiteX22-6481" fmla="*/ 2113081 w 3638574"/>
                <a:gd name="connsiteY22-6482" fmla="*/ 3817088 h 4492350"/>
                <a:gd name="connsiteX23-6483" fmla="*/ 3261397 w 3638574"/>
                <a:gd name="connsiteY23-6484" fmla="*/ 3094074 h 4492350"/>
                <a:gd name="connsiteX24-6485" fmla="*/ 2138356 w 3638574"/>
                <a:gd name="connsiteY24-6486" fmla="*/ 4030951 h 4492350"/>
                <a:gd name="connsiteX25-6487" fmla="*/ 2176877 w 3638574"/>
                <a:gd name="connsiteY25-6488" fmla="*/ 4476307 h 4492350"/>
                <a:gd name="connsiteX26-6489" fmla="*/ 2162233 w 3638574"/>
                <a:gd name="connsiteY26-6490" fmla="*/ 4491415 h 4492350"/>
                <a:gd name="connsiteX27-6491" fmla="*/ 1687779 w 3638574"/>
                <a:gd name="connsiteY27-6492" fmla="*/ 4492350 h 4492350"/>
                <a:gd name="connsiteX0-6493" fmla="*/ 1687779 w 3638574"/>
                <a:gd name="connsiteY0-6494" fmla="*/ 4492350 h 4492350"/>
                <a:gd name="connsiteX1-6495" fmla="*/ 1740942 w 3638574"/>
                <a:gd name="connsiteY1-6496" fmla="*/ 3785190 h 4492350"/>
                <a:gd name="connsiteX2-6497" fmla="*/ 1239812 w 3638574"/>
                <a:gd name="connsiteY2-6498" fmla="*/ 3369121 h 4492350"/>
                <a:gd name="connsiteX3-6499" fmla="*/ 0 w 3638574"/>
                <a:gd name="connsiteY3-6500" fmla="*/ 2917145 h 4492350"/>
                <a:gd name="connsiteX4-6501" fmla="*/ 1087133 w 3638574"/>
                <a:gd name="connsiteY4-6502" fmla="*/ 3238920 h 4492350"/>
                <a:gd name="connsiteX5-6503" fmla="*/ 365518 w 3638574"/>
                <a:gd name="connsiteY5-6504" fmla="*/ 2420026 h 4492350"/>
                <a:gd name="connsiteX6-6505" fmla="*/ 1719677 w 3638574"/>
                <a:gd name="connsiteY6-6506" fmla="*/ 3519376 h 4492350"/>
                <a:gd name="connsiteX7-6507" fmla="*/ 1627995 w 3638574"/>
                <a:gd name="connsiteY7-6508" fmla="*/ 2400346 h 4492350"/>
                <a:gd name="connsiteX8-6509" fmla="*/ 4198 w 3638574"/>
                <a:gd name="connsiteY8-6510" fmla="*/ 742880 h 4492350"/>
                <a:gd name="connsiteX9-6511" fmla="*/ 932867 w 3638574"/>
                <a:gd name="connsiteY9-6512" fmla="*/ 1924493 h 4492350"/>
                <a:gd name="connsiteX10-6513" fmla="*/ 1037607 w 3638574"/>
                <a:gd name="connsiteY10-6514" fmla="*/ 857226 h 4492350"/>
                <a:gd name="connsiteX11-6515" fmla="*/ 1138710 w 3638574"/>
                <a:gd name="connsiteY11-6516" fmla="*/ 2026621 h 4492350"/>
                <a:gd name="connsiteX12-6517" fmla="*/ 1658679 w 3638574"/>
                <a:gd name="connsiteY12-6518" fmla="*/ 2194318 h 4492350"/>
                <a:gd name="connsiteX13-6519" fmla="*/ 1900430 w 3638574"/>
                <a:gd name="connsiteY13-6520" fmla="*/ 0 h 4492350"/>
                <a:gd name="connsiteX14-6521" fmla="*/ 1971873 w 3638574"/>
                <a:gd name="connsiteY14-6522" fmla="*/ 986216 h 4492350"/>
                <a:gd name="connsiteX15-6523" fmla="*/ 1826002 w 3638574"/>
                <a:gd name="connsiteY15-6524" fmla="*/ 2060385 h 4492350"/>
                <a:gd name="connsiteX16-6525" fmla="*/ 2001533 w 3638574"/>
                <a:gd name="connsiteY16-6526" fmla="*/ 3046321 h 4492350"/>
                <a:gd name="connsiteX17-6527" fmla="*/ 2591546 w 3638574"/>
                <a:gd name="connsiteY17-6528" fmla="*/ 2519916 h 4492350"/>
                <a:gd name="connsiteX18-6529" fmla="*/ 2857733 w 3638574"/>
                <a:gd name="connsiteY18-6530" fmla="*/ 1291762 h 4492350"/>
                <a:gd name="connsiteX19-6531" fmla="*/ 2750848 w 3638574"/>
                <a:gd name="connsiteY19-6532" fmla="*/ 2383091 h 4492350"/>
                <a:gd name="connsiteX20-6533" fmla="*/ 3638574 w 3638574"/>
                <a:gd name="connsiteY20-6534" fmla="*/ 1124252 h 4492350"/>
                <a:gd name="connsiteX21-6535" fmla="*/ 2166244 w 3638574"/>
                <a:gd name="connsiteY21-6536" fmla="*/ 3370521 h 4492350"/>
                <a:gd name="connsiteX22-6537" fmla="*/ 2113081 w 3638574"/>
                <a:gd name="connsiteY22-6538" fmla="*/ 3817088 h 4492350"/>
                <a:gd name="connsiteX23-6539" fmla="*/ 3261397 w 3638574"/>
                <a:gd name="connsiteY23-6540" fmla="*/ 3094074 h 4492350"/>
                <a:gd name="connsiteX24-6541" fmla="*/ 2138356 w 3638574"/>
                <a:gd name="connsiteY24-6542" fmla="*/ 4030951 h 4492350"/>
                <a:gd name="connsiteX25-6543" fmla="*/ 2176877 w 3638574"/>
                <a:gd name="connsiteY25-6544" fmla="*/ 4476307 h 4492350"/>
                <a:gd name="connsiteX26-6545" fmla="*/ 2162233 w 3638574"/>
                <a:gd name="connsiteY26-6546" fmla="*/ 4491415 h 4492350"/>
                <a:gd name="connsiteX27-6547" fmla="*/ 1687779 w 3638574"/>
                <a:gd name="connsiteY27-6548" fmla="*/ 4492350 h 4492350"/>
                <a:gd name="connsiteX0-6549" fmla="*/ 1687779 w 3638574"/>
                <a:gd name="connsiteY0-6550" fmla="*/ 4492350 h 4492350"/>
                <a:gd name="connsiteX1-6551" fmla="*/ 1740942 w 3638574"/>
                <a:gd name="connsiteY1-6552" fmla="*/ 3785190 h 4492350"/>
                <a:gd name="connsiteX2-6553" fmla="*/ 1239812 w 3638574"/>
                <a:gd name="connsiteY2-6554" fmla="*/ 3369121 h 4492350"/>
                <a:gd name="connsiteX3-6555" fmla="*/ 0 w 3638574"/>
                <a:gd name="connsiteY3-6556" fmla="*/ 2917145 h 4492350"/>
                <a:gd name="connsiteX4-6557" fmla="*/ 1087133 w 3638574"/>
                <a:gd name="connsiteY4-6558" fmla="*/ 3238920 h 4492350"/>
                <a:gd name="connsiteX5-6559" fmla="*/ 365518 w 3638574"/>
                <a:gd name="connsiteY5-6560" fmla="*/ 2420026 h 4492350"/>
                <a:gd name="connsiteX6-6561" fmla="*/ 1719677 w 3638574"/>
                <a:gd name="connsiteY6-6562" fmla="*/ 3519376 h 4492350"/>
                <a:gd name="connsiteX7-6563" fmla="*/ 1627995 w 3638574"/>
                <a:gd name="connsiteY7-6564" fmla="*/ 2400346 h 4492350"/>
                <a:gd name="connsiteX8-6565" fmla="*/ 4198 w 3638574"/>
                <a:gd name="connsiteY8-6566" fmla="*/ 742880 h 4492350"/>
                <a:gd name="connsiteX9-6567" fmla="*/ 932867 w 3638574"/>
                <a:gd name="connsiteY9-6568" fmla="*/ 1924493 h 4492350"/>
                <a:gd name="connsiteX10-6569" fmla="*/ 1037607 w 3638574"/>
                <a:gd name="connsiteY10-6570" fmla="*/ 857226 h 4492350"/>
                <a:gd name="connsiteX11-6571" fmla="*/ 1138710 w 3638574"/>
                <a:gd name="connsiteY11-6572" fmla="*/ 2026621 h 4492350"/>
                <a:gd name="connsiteX12-6573" fmla="*/ 1658679 w 3638574"/>
                <a:gd name="connsiteY12-6574" fmla="*/ 2194318 h 4492350"/>
                <a:gd name="connsiteX13-6575" fmla="*/ 1900430 w 3638574"/>
                <a:gd name="connsiteY13-6576" fmla="*/ 0 h 4492350"/>
                <a:gd name="connsiteX14-6577" fmla="*/ 1971873 w 3638574"/>
                <a:gd name="connsiteY14-6578" fmla="*/ 986216 h 4492350"/>
                <a:gd name="connsiteX15-6579" fmla="*/ 1826002 w 3638574"/>
                <a:gd name="connsiteY15-6580" fmla="*/ 2060385 h 4492350"/>
                <a:gd name="connsiteX16-6581" fmla="*/ 2001533 w 3638574"/>
                <a:gd name="connsiteY16-6582" fmla="*/ 3046321 h 4492350"/>
                <a:gd name="connsiteX17-6583" fmla="*/ 2591546 w 3638574"/>
                <a:gd name="connsiteY17-6584" fmla="*/ 2519916 h 4492350"/>
                <a:gd name="connsiteX18-6585" fmla="*/ 2857733 w 3638574"/>
                <a:gd name="connsiteY18-6586" fmla="*/ 1291762 h 4492350"/>
                <a:gd name="connsiteX19-6587" fmla="*/ 2750848 w 3638574"/>
                <a:gd name="connsiteY19-6588" fmla="*/ 2383091 h 4492350"/>
                <a:gd name="connsiteX20-6589" fmla="*/ 3638574 w 3638574"/>
                <a:gd name="connsiteY20-6590" fmla="*/ 1124252 h 4492350"/>
                <a:gd name="connsiteX21-6591" fmla="*/ 2166244 w 3638574"/>
                <a:gd name="connsiteY21-6592" fmla="*/ 3370521 h 4492350"/>
                <a:gd name="connsiteX22-6593" fmla="*/ 2113081 w 3638574"/>
                <a:gd name="connsiteY22-6594" fmla="*/ 3817088 h 4492350"/>
                <a:gd name="connsiteX23-6595" fmla="*/ 3261397 w 3638574"/>
                <a:gd name="connsiteY23-6596" fmla="*/ 3094074 h 4492350"/>
                <a:gd name="connsiteX24-6597" fmla="*/ 2138356 w 3638574"/>
                <a:gd name="connsiteY24-6598" fmla="*/ 4030951 h 4492350"/>
                <a:gd name="connsiteX25-6599" fmla="*/ 2176877 w 3638574"/>
                <a:gd name="connsiteY25-6600" fmla="*/ 4476307 h 4492350"/>
                <a:gd name="connsiteX26-6601" fmla="*/ 2162233 w 3638574"/>
                <a:gd name="connsiteY26-6602" fmla="*/ 4491415 h 4492350"/>
                <a:gd name="connsiteX27-6603" fmla="*/ 1687779 w 3638574"/>
                <a:gd name="connsiteY27-6604" fmla="*/ 4492350 h 4492350"/>
                <a:gd name="connsiteX0-6605" fmla="*/ 1687779 w 3638574"/>
                <a:gd name="connsiteY0-6606" fmla="*/ 4492350 h 4492350"/>
                <a:gd name="connsiteX1-6607" fmla="*/ 1740942 w 3638574"/>
                <a:gd name="connsiteY1-6608" fmla="*/ 3785190 h 4492350"/>
                <a:gd name="connsiteX2-6609" fmla="*/ 1239812 w 3638574"/>
                <a:gd name="connsiteY2-6610" fmla="*/ 3369121 h 4492350"/>
                <a:gd name="connsiteX3-6611" fmla="*/ 0 w 3638574"/>
                <a:gd name="connsiteY3-6612" fmla="*/ 2917145 h 4492350"/>
                <a:gd name="connsiteX4-6613" fmla="*/ 1087133 w 3638574"/>
                <a:gd name="connsiteY4-6614" fmla="*/ 3238920 h 4492350"/>
                <a:gd name="connsiteX5-6615" fmla="*/ 365518 w 3638574"/>
                <a:gd name="connsiteY5-6616" fmla="*/ 2420026 h 4492350"/>
                <a:gd name="connsiteX6-6617" fmla="*/ 1719677 w 3638574"/>
                <a:gd name="connsiteY6-6618" fmla="*/ 3519376 h 4492350"/>
                <a:gd name="connsiteX7-6619" fmla="*/ 1627995 w 3638574"/>
                <a:gd name="connsiteY7-6620" fmla="*/ 2400346 h 4492350"/>
                <a:gd name="connsiteX8-6621" fmla="*/ 4198 w 3638574"/>
                <a:gd name="connsiteY8-6622" fmla="*/ 742880 h 4492350"/>
                <a:gd name="connsiteX9-6623" fmla="*/ 932867 w 3638574"/>
                <a:gd name="connsiteY9-6624" fmla="*/ 1924493 h 4492350"/>
                <a:gd name="connsiteX10-6625" fmla="*/ 1037607 w 3638574"/>
                <a:gd name="connsiteY10-6626" fmla="*/ 857226 h 4492350"/>
                <a:gd name="connsiteX11-6627" fmla="*/ 1138710 w 3638574"/>
                <a:gd name="connsiteY11-6628" fmla="*/ 2026621 h 4492350"/>
                <a:gd name="connsiteX12-6629" fmla="*/ 1658679 w 3638574"/>
                <a:gd name="connsiteY12-6630" fmla="*/ 2194318 h 4492350"/>
                <a:gd name="connsiteX13-6631" fmla="*/ 1900430 w 3638574"/>
                <a:gd name="connsiteY13-6632" fmla="*/ 0 h 4492350"/>
                <a:gd name="connsiteX14-6633" fmla="*/ 1971873 w 3638574"/>
                <a:gd name="connsiteY14-6634" fmla="*/ 986216 h 4492350"/>
                <a:gd name="connsiteX15-6635" fmla="*/ 1826002 w 3638574"/>
                <a:gd name="connsiteY15-6636" fmla="*/ 2060385 h 4492350"/>
                <a:gd name="connsiteX16-6637" fmla="*/ 2001533 w 3638574"/>
                <a:gd name="connsiteY16-6638" fmla="*/ 3046321 h 4492350"/>
                <a:gd name="connsiteX17-6639" fmla="*/ 2591546 w 3638574"/>
                <a:gd name="connsiteY17-6640" fmla="*/ 2519916 h 4492350"/>
                <a:gd name="connsiteX18-6641" fmla="*/ 2857733 w 3638574"/>
                <a:gd name="connsiteY18-6642" fmla="*/ 1291762 h 4492350"/>
                <a:gd name="connsiteX19-6643" fmla="*/ 2750848 w 3638574"/>
                <a:gd name="connsiteY19-6644" fmla="*/ 2383091 h 4492350"/>
                <a:gd name="connsiteX20-6645" fmla="*/ 3638574 w 3638574"/>
                <a:gd name="connsiteY20-6646" fmla="*/ 1124252 h 4492350"/>
                <a:gd name="connsiteX21-6647" fmla="*/ 2166244 w 3638574"/>
                <a:gd name="connsiteY21-6648" fmla="*/ 3370521 h 4492350"/>
                <a:gd name="connsiteX22-6649" fmla="*/ 2113081 w 3638574"/>
                <a:gd name="connsiteY22-6650" fmla="*/ 3817088 h 4492350"/>
                <a:gd name="connsiteX23-6651" fmla="*/ 3261397 w 3638574"/>
                <a:gd name="connsiteY23-6652" fmla="*/ 3094074 h 4492350"/>
                <a:gd name="connsiteX24-6653" fmla="*/ 2138356 w 3638574"/>
                <a:gd name="connsiteY24-6654" fmla="*/ 4030951 h 4492350"/>
                <a:gd name="connsiteX25-6655" fmla="*/ 2176877 w 3638574"/>
                <a:gd name="connsiteY25-6656" fmla="*/ 4476307 h 4492350"/>
                <a:gd name="connsiteX26-6657" fmla="*/ 2162233 w 3638574"/>
                <a:gd name="connsiteY26-6658" fmla="*/ 4491415 h 4492350"/>
                <a:gd name="connsiteX27-6659" fmla="*/ 1687779 w 3638574"/>
                <a:gd name="connsiteY27-6660" fmla="*/ 4492350 h 4492350"/>
                <a:gd name="connsiteX0-6661" fmla="*/ 1687779 w 3638574"/>
                <a:gd name="connsiteY0-6662" fmla="*/ 4492350 h 4492350"/>
                <a:gd name="connsiteX1-6663" fmla="*/ 1740942 w 3638574"/>
                <a:gd name="connsiteY1-6664" fmla="*/ 3785190 h 4492350"/>
                <a:gd name="connsiteX2-6665" fmla="*/ 1239812 w 3638574"/>
                <a:gd name="connsiteY2-6666" fmla="*/ 3369121 h 4492350"/>
                <a:gd name="connsiteX3-6667" fmla="*/ 0 w 3638574"/>
                <a:gd name="connsiteY3-6668" fmla="*/ 2917145 h 4492350"/>
                <a:gd name="connsiteX4-6669" fmla="*/ 1087133 w 3638574"/>
                <a:gd name="connsiteY4-6670" fmla="*/ 3238920 h 4492350"/>
                <a:gd name="connsiteX5-6671" fmla="*/ 365518 w 3638574"/>
                <a:gd name="connsiteY5-6672" fmla="*/ 2420026 h 4492350"/>
                <a:gd name="connsiteX6-6673" fmla="*/ 1719677 w 3638574"/>
                <a:gd name="connsiteY6-6674" fmla="*/ 3519376 h 4492350"/>
                <a:gd name="connsiteX7-6675" fmla="*/ 1627995 w 3638574"/>
                <a:gd name="connsiteY7-6676" fmla="*/ 2400346 h 4492350"/>
                <a:gd name="connsiteX8-6677" fmla="*/ 4198 w 3638574"/>
                <a:gd name="connsiteY8-6678" fmla="*/ 742880 h 4492350"/>
                <a:gd name="connsiteX9-6679" fmla="*/ 932867 w 3638574"/>
                <a:gd name="connsiteY9-6680" fmla="*/ 1924493 h 4492350"/>
                <a:gd name="connsiteX10-6681" fmla="*/ 1037607 w 3638574"/>
                <a:gd name="connsiteY10-6682" fmla="*/ 857226 h 4492350"/>
                <a:gd name="connsiteX11-6683" fmla="*/ 1138710 w 3638574"/>
                <a:gd name="connsiteY11-6684" fmla="*/ 2026621 h 4492350"/>
                <a:gd name="connsiteX12-6685" fmla="*/ 1658679 w 3638574"/>
                <a:gd name="connsiteY12-6686" fmla="*/ 2194318 h 4492350"/>
                <a:gd name="connsiteX13-6687" fmla="*/ 1900430 w 3638574"/>
                <a:gd name="connsiteY13-6688" fmla="*/ 0 h 4492350"/>
                <a:gd name="connsiteX14-6689" fmla="*/ 1971873 w 3638574"/>
                <a:gd name="connsiteY14-6690" fmla="*/ 986216 h 4492350"/>
                <a:gd name="connsiteX15-6691" fmla="*/ 1826002 w 3638574"/>
                <a:gd name="connsiteY15-6692" fmla="*/ 2060385 h 4492350"/>
                <a:gd name="connsiteX16-6693" fmla="*/ 2001533 w 3638574"/>
                <a:gd name="connsiteY16-6694" fmla="*/ 3046321 h 4492350"/>
                <a:gd name="connsiteX17-6695" fmla="*/ 2591546 w 3638574"/>
                <a:gd name="connsiteY17-6696" fmla="*/ 2519916 h 4492350"/>
                <a:gd name="connsiteX18-6697" fmla="*/ 2857733 w 3638574"/>
                <a:gd name="connsiteY18-6698" fmla="*/ 1291762 h 4492350"/>
                <a:gd name="connsiteX19-6699" fmla="*/ 2750848 w 3638574"/>
                <a:gd name="connsiteY19-6700" fmla="*/ 2383091 h 4492350"/>
                <a:gd name="connsiteX20-6701" fmla="*/ 3638574 w 3638574"/>
                <a:gd name="connsiteY20-6702" fmla="*/ 1124252 h 4492350"/>
                <a:gd name="connsiteX21-6703" fmla="*/ 2166244 w 3638574"/>
                <a:gd name="connsiteY21-6704" fmla="*/ 3370521 h 4492350"/>
                <a:gd name="connsiteX22-6705" fmla="*/ 2113081 w 3638574"/>
                <a:gd name="connsiteY22-6706" fmla="*/ 3817088 h 4492350"/>
                <a:gd name="connsiteX23-6707" fmla="*/ 3261397 w 3638574"/>
                <a:gd name="connsiteY23-6708" fmla="*/ 3094074 h 4492350"/>
                <a:gd name="connsiteX24-6709" fmla="*/ 2138356 w 3638574"/>
                <a:gd name="connsiteY24-6710" fmla="*/ 4030951 h 4492350"/>
                <a:gd name="connsiteX25-6711" fmla="*/ 2176877 w 3638574"/>
                <a:gd name="connsiteY25-6712" fmla="*/ 4476307 h 4492350"/>
                <a:gd name="connsiteX26-6713" fmla="*/ 2162233 w 3638574"/>
                <a:gd name="connsiteY26-6714" fmla="*/ 4491415 h 4492350"/>
                <a:gd name="connsiteX27-6715" fmla="*/ 1687779 w 3638574"/>
                <a:gd name="connsiteY27-6716" fmla="*/ 4492350 h 4492350"/>
                <a:gd name="connsiteX0-6717" fmla="*/ 1687779 w 3638574"/>
                <a:gd name="connsiteY0-6718" fmla="*/ 4492350 h 4492350"/>
                <a:gd name="connsiteX1-6719" fmla="*/ 1740942 w 3638574"/>
                <a:gd name="connsiteY1-6720" fmla="*/ 3785190 h 4492350"/>
                <a:gd name="connsiteX2-6721" fmla="*/ 1239812 w 3638574"/>
                <a:gd name="connsiteY2-6722" fmla="*/ 3369121 h 4492350"/>
                <a:gd name="connsiteX3-6723" fmla="*/ 0 w 3638574"/>
                <a:gd name="connsiteY3-6724" fmla="*/ 2917145 h 4492350"/>
                <a:gd name="connsiteX4-6725" fmla="*/ 1087133 w 3638574"/>
                <a:gd name="connsiteY4-6726" fmla="*/ 3238920 h 4492350"/>
                <a:gd name="connsiteX5-6727" fmla="*/ 365518 w 3638574"/>
                <a:gd name="connsiteY5-6728" fmla="*/ 2420026 h 4492350"/>
                <a:gd name="connsiteX6-6729" fmla="*/ 1719677 w 3638574"/>
                <a:gd name="connsiteY6-6730" fmla="*/ 3519376 h 4492350"/>
                <a:gd name="connsiteX7-6731" fmla="*/ 1627995 w 3638574"/>
                <a:gd name="connsiteY7-6732" fmla="*/ 2400346 h 4492350"/>
                <a:gd name="connsiteX8-6733" fmla="*/ 4198 w 3638574"/>
                <a:gd name="connsiteY8-6734" fmla="*/ 742880 h 4492350"/>
                <a:gd name="connsiteX9-6735" fmla="*/ 932867 w 3638574"/>
                <a:gd name="connsiteY9-6736" fmla="*/ 1924493 h 4492350"/>
                <a:gd name="connsiteX10-6737" fmla="*/ 1037607 w 3638574"/>
                <a:gd name="connsiteY10-6738" fmla="*/ 857226 h 4492350"/>
                <a:gd name="connsiteX11-6739" fmla="*/ 1138710 w 3638574"/>
                <a:gd name="connsiteY11-6740" fmla="*/ 2026621 h 4492350"/>
                <a:gd name="connsiteX12-6741" fmla="*/ 1658679 w 3638574"/>
                <a:gd name="connsiteY12-6742" fmla="*/ 2194318 h 4492350"/>
                <a:gd name="connsiteX13-6743" fmla="*/ 1900430 w 3638574"/>
                <a:gd name="connsiteY13-6744" fmla="*/ 0 h 4492350"/>
                <a:gd name="connsiteX14-6745" fmla="*/ 1971873 w 3638574"/>
                <a:gd name="connsiteY14-6746" fmla="*/ 986216 h 4492350"/>
                <a:gd name="connsiteX15-6747" fmla="*/ 1826002 w 3638574"/>
                <a:gd name="connsiteY15-6748" fmla="*/ 2060385 h 4492350"/>
                <a:gd name="connsiteX16-6749" fmla="*/ 2001533 w 3638574"/>
                <a:gd name="connsiteY16-6750" fmla="*/ 3046321 h 4492350"/>
                <a:gd name="connsiteX17-6751" fmla="*/ 2591546 w 3638574"/>
                <a:gd name="connsiteY17-6752" fmla="*/ 2519916 h 4492350"/>
                <a:gd name="connsiteX18-6753" fmla="*/ 2857733 w 3638574"/>
                <a:gd name="connsiteY18-6754" fmla="*/ 1291762 h 4492350"/>
                <a:gd name="connsiteX19-6755" fmla="*/ 2750848 w 3638574"/>
                <a:gd name="connsiteY19-6756" fmla="*/ 2383091 h 4492350"/>
                <a:gd name="connsiteX20-6757" fmla="*/ 3638574 w 3638574"/>
                <a:gd name="connsiteY20-6758" fmla="*/ 1124252 h 4492350"/>
                <a:gd name="connsiteX21-6759" fmla="*/ 2166244 w 3638574"/>
                <a:gd name="connsiteY21-6760" fmla="*/ 3370521 h 4492350"/>
                <a:gd name="connsiteX22-6761" fmla="*/ 2113081 w 3638574"/>
                <a:gd name="connsiteY22-6762" fmla="*/ 3817088 h 4492350"/>
                <a:gd name="connsiteX23-6763" fmla="*/ 3261397 w 3638574"/>
                <a:gd name="connsiteY23-6764" fmla="*/ 3094074 h 4492350"/>
                <a:gd name="connsiteX24-6765" fmla="*/ 2138356 w 3638574"/>
                <a:gd name="connsiteY24-6766" fmla="*/ 4030951 h 4492350"/>
                <a:gd name="connsiteX25-6767" fmla="*/ 2176877 w 3638574"/>
                <a:gd name="connsiteY25-6768" fmla="*/ 4476307 h 4492350"/>
                <a:gd name="connsiteX26-6769" fmla="*/ 2162233 w 3638574"/>
                <a:gd name="connsiteY26-6770" fmla="*/ 4491415 h 4492350"/>
                <a:gd name="connsiteX27-6771" fmla="*/ 1687779 w 3638574"/>
                <a:gd name="connsiteY27-6772" fmla="*/ 4492350 h 4492350"/>
                <a:gd name="connsiteX0-6773" fmla="*/ 1687779 w 3638574"/>
                <a:gd name="connsiteY0-6774" fmla="*/ 4492350 h 4492350"/>
                <a:gd name="connsiteX1-6775" fmla="*/ 1740942 w 3638574"/>
                <a:gd name="connsiteY1-6776" fmla="*/ 3785190 h 4492350"/>
                <a:gd name="connsiteX2-6777" fmla="*/ 1239812 w 3638574"/>
                <a:gd name="connsiteY2-6778" fmla="*/ 3369121 h 4492350"/>
                <a:gd name="connsiteX3-6779" fmla="*/ 0 w 3638574"/>
                <a:gd name="connsiteY3-6780" fmla="*/ 2917145 h 4492350"/>
                <a:gd name="connsiteX4-6781" fmla="*/ 1087133 w 3638574"/>
                <a:gd name="connsiteY4-6782" fmla="*/ 3238920 h 4492350"/>
                <a:gd name="connsiteX5-6783" fmla="*/ 389581 w 3638574"/>
                <a:gd name="connsiteY5-6784" fmla="*/ 2412005 h 4492350"/>
                <a:gd name="connsiteX6-6785" fmla="*/ 1719677 w 3638574"/>
                <a:gd name="connsiteY6-6786" fmla="*/ 3519376 h 4492350"/>
                <a:gd name="connsiteX7-6787" fmla="*/ 1627995 w 3638574"/>
                <a:gd name="connsiteY7-6788" fmla="*/ 2400346 h 4492350"/>
                <a:gd name="connsiteX8-6789" fmla="*/ 4198 w 3638574"/>
                <a:gd name="connsiteY8-6790" fmla="*/ 742880 h 4492350"/>
                <a:gd name="connsiteX9-6791" fmla="*/ 932867 w 3638574"/>
                <a:gd name="connsiteY9-6792" fmla="*/ 1924493 h 4492350"/>
                <a:gd name="connsiteX10-6793" fmla="*/ 1037607 w 3638574"/>
                <a:gd name="connsiteY10-6794" fmla="*/ 857226 h 4492350"/>
                <a:gd name="connsiteX11-6795" fmla="*/ 1138710 w 3638574"/>
                <a:gd name="connsiteY11-6796" fmla="*/ 2026621 h 4492350"/>
                <a:gd name="connsiteX12-6797" fmla="*/ 1658679 w 3638574"/>
                <a:gd name="connsiteY12-6798" fmla="*/ 2194318 h 4492350"/>
                <a:gd name="connsiteX13-6799" fmla="*/ 1900430 w 3638574"/>
                <a:gd name="connsiteY13-6800" fmla="*/ 0 h 4492350"/>
                <a:gd name="connsiteX14-6801" fmla="*/ 1971873 w 3638574"/>
                <a:gd name="connsiteY14-6802" fmla="*/ 986216 h 4492350"/>
                <a:gd name="connsiteX15-6803" fmla="*/ 1826002 w 3638574"/>
                <a:gd name="connsiteY15-6804" fmla="*/ 2060385 h 4492350"/>
                <a:gd name="connsiteX16-6805" fmla="*/ 2001533 w 3638574"/>
                <a:gd name="connsiteY16-6806" fmla="*/ 3046321 h 4492350"/>
                <a:gd name="connsiteX17-6807" fmla="*/ 2591546 w 3638574"/>
                <a:gd name="connsiteY17-6808" fmla="*/ 2519916 h 4492350"/>
                <a:gd name="connsiteX18-6809" fmla="*/ 2857733 w 3638574"/>
                <a:gd name="connsiteY18-6810" fmla="*/ 1291762 h 4492350"/>
                <a:gd name="connsiteX19-6811" fmla="*/ 2750848 w 3638574"/>
                <a:gd name="connsiteY19-6812" fmla="*/ 2383091 h 4492350"/>
                <a:gd name="connsiteX20-6813" fmla="*/ 3638574 w 3638574"/>
                <a:gd name="connsiteY20-6814" fmla="*/ 1124252 h 4492350"/>
                <a:gd name="connsiteX21-6815" fmla="*/ 2166244 w 3638574"/>
                <a:gd name="connsiteY21-6816" fmla="*/ 3370521 h 4492350"/>
                <a:gd name="connsiteX22-6817" fmla="*/ 2113081 w 3638574"/>
                <a:gd name="connsiteY22-6818" fmla="*/ 3817088 h 4492350"/>
                <a:gd name="connsiteX23-6819" fmla="*/ 3261397 w 3638574"/>
                <a:gd name="connsiteY23-6820" fmla="*/ 3094074 h 4492350"/>
                <a:gd name="connsiteX24-6821" fmla="*/ 2138356 w 3638574"/>
                <a:gd name="connsiteY24-6822" fmla="*/ 4030951 h 4492350"/>
                <a:gd name="connsiteX25-6823" fmla="*/ 2176877 w 3638574"/>
                <a:gd name="connsiteY25-6824" fmla="*/ 4476307 h 4492350"/>
                <a:gd name="connsiteX26-6825" fmla="*/ 2162233 w 3638574"/>
                <a:gd name="connsiteY26-6826" fmla="*/ 4491415 h 4492350"/>
                <a:gd name="connsiteX27-6827" fmla="*/ 1687779 w 3638574"/>
                <a:gd name="connsiteY27-6828" fmla="*/ 4492350 h 4492350"/>
                <a:gd name="connsiteX0-6829" fmla="*/ 1687779 w 3638574"/>
                <a:gd name="connsiteY0-6830" fmla="*/ 4492350 h 4492350"/>
                <a:gd name="connsiteX1-6831" fmla="*/ 1740942 w 3638574"/>
                <a:gd name="connsiteY1-6832" fmla="*/ 3785190 h 4492350"/>
                <a:gd name="connsiteX2-6833" fmla="*/ 1239812 w 3638574"/>
                <a:gd name="connsiteY2-6834" fmla="*/ 3369121 h 4492350"/>
                <a:gd name="connsiteX3-6835" fmla="*/ 0 w 3638574"/>
                <a:gd name="connsiteY3-6836" fmla="*/ 2917145 h 4492350"/>
                <a:gd name="connsiteX4-6837" fmla="*/ 1087133 w 3638574"/>
                <a:gd name="connsiteY4-6838" fmla="*/ 3238920 h 4492350"/>
                <a:gd name="connsiteX5-6839" fmla="*/ 389581 w 3638574"/>
                <a:gd name="connsiteY5-6840" fmla="*/ 2412005 h 4492350"/>
                <a:gd name="connsiteX6-6841" fmla="*/ 1719677 w 3638574"/>
                <a:gd name="connsiteY6-6842" fmla="*/ 3519376 h 4492350"/>
                <a:gd name="connsiteX7-6843" fmla="*/ 1627995 w 3638574"/>
                <a:gd name="connsiteY7-6844" fmla="*/ 2400346 h 4492350"/>
                <a:gd name="connsiteX8-6845" fmla="*/ 4198 w 3638574"/>
                <a:gd name="connsiteY8-6846" fmla="*/ 742880 h 4492350"/>
                <a:gd name="connsiteX9-6847" fmla="*/ 932867 w 3638574"/>
                <a:gd name="connsiteY9-6848" fmla="*/ 1924493 h 4492350"/>
                <a:gd name="connsiteX10-6849" fmla="*/ 1037607 w 3638574"/>
                <a:gd name="connsiteY10-6850" fmla="*/ 857226 h 4492350"/>
                <a:gd name="connsiteX11-6851" fmla="*/ 1138710 w 3638574"/>
                <a:gd name="connsiteY11-6852" fmla="*/ 2026621 h 4492350"/>
                <a:gd name="connsiteX12-6853" fmla="*/ 1658679 w 3638574"/>
                <a:gd name="connsiteY12-6854" fmla="*/ 2194318 h 4492350"/>
                <a:gd name="connsiteX13-6855" fmla="*/ 1900430 w 3638574"/>
                <a:gd name="connsiteY13-6856" fmla="*/ 0 h 4492350"/>
                <a:gd name="connsiteX14-6857" fmla="*/ 1971873 w 3638574"/>
                <a:gd name="connsiteY14-6858" fmla="*/ 986216 h 4492350"/>
                <a:gd name="connsiteX15-6859" fmla="*/ 1826002 w 3638574"/>
                <a:gd name="connsiteY15-6860" fmla="*/ 2060385 h 4492350"/>
                <a:gd name="connsiteX16-6861" fmla="*/ 2001533 w 3638574"/>
                <a:gd name="connsiteY16-6862" fmla="*/ 3046321 h 4492350"/>
                <a:gd name="connsiteX17-6863" fmla="*/ 2591546 w 3638574"/>
                <a:gd name="connsiteY17-6864" fmla="*/ 2519916 h 4492350"/>
                <a:gd name="connsiteX18-6865" fmla="*/ 2857733 w 3638574"/>
                <a:gd name="connsiteY18-6866" fmla="*/ 1291762 h 4492350"/>
                <a:gd name="connsiteX19-6867" fmla="*/ 2750848 w 3638574"/>
                <a:gd name="connsiteY19-6868" fmla="*/ 2383091 h 4492350"/>
                <a:gd name="connsiteX20-6869" fmla="*/ 3638574 w 3638574"/>
                <a:gd name="connsiteY20-6870" fmla="*/ 1124252 h 4492350"/>
                <a:gd name="connsiteX21-6871" fmla="*/ 2166244 w 3638574"/>
                <a:gd name="connsiteY21-6872" fmla="*/ 3370521 h 4492350"/>
                <a:gd name="connsiteX22-6873" fmla="*/ 2113081 w 3638574"/>
                <a:gd name="connsiteY22-6874" fmla="*/ 3817088 h 4492350"/>
                <a:gd name="connsiteX23-6875" fmla="*/ 3261397 w 3638574"/>
                <a:gd name="connsiteY23-6876" fmla="*/ 3094074 h 4492350"/>
                <a:gd name="connsiteX24-6877" fmla="*/ 2138356 w 3638574"/>
                <a:gd name="connsiteY24-6878" fmla="*/ 4030951 h 4492350"/>
                <a:gd name="connsiteX25-6879" fmla="*/ 2176877 w 3638574"/>
                <a:gd name="connsiteY25-6880" fmla="*/ 4476307 h 4492350"/>
                <a:gd name="connsiteX26-6881" fmla="*/ 2162233 w 3638574"/>
                <a:gd name="connsiteY26-6882" fmla="*/ 4491415 h 4492350"/>
                <a:gd name="connsiteX27-6883" fmla="*/ 1687779 w 3638574"/>
                <a:gd name="connsiteY27-6884" fmla="*/ 4492350 h 4492350"/>
                <a:gd name="connsiteX0-6885" fmla="*/ 1687779 w 3638574"/>
                <a:gd name="connsiteY0-6886" fmla="*/ 4492350 h 4492350"/>
                <a:gd name="connsiteX1-6887" fmla="*/ 1740942 w 3638574"/>
                <a:gd name="connsiteY1-6888" fmla="*/ 3785190 h 4492350"/>
                <a:gd name="connsiteX2-6889" fmla="*/ 1239812 w 3638574"/>
                <a:gd name="connsiteY2-6890" fmla="*/ 3369121 h 4492350"/>
                <a:gd name="connsiteX3-6891" fmla="*/ 0 w 3638574"/>
                <a:gd name="connsiteY3-6892" fmla="*/ 2917145 h 4492350"/>
                <a:gd name="connsiteX4-6893" fmla="*/ 1087133 w 3638574"/>
                <a:gd name="connsiteY4-6894" fmla="*/ 3238920 h 4492350"/>
                <a:gd name="connsiteX5-6895" fmla="*/ 389581 w 3638574"/>
                <a:gd name="connsiteY5-6896" fmla="*/ 2412005 h 4492350"/>
                <a:gd name="connsiteX6-6897" fmla="*/ 1719677 w 3638574"/>
                <a:gd name="connsiteY6-6898" fmla="*/ 3519376 h 4492350"/>
                <a:gd name="connsiteX7-6899" fmla="*/ 1627995 w 3638574"/>
                <a:gd name="connsiteY7-6900" fmla="*/ 2400346 h 4492350"/>
                <a:gd name="connsiteX8-6901" fmla="*/ 4198 w 3638574"/>
                <a:gd name="connsiteY8-6902" fmla="*/ 742880 h 4492350"/>
                <a:gd name="connsiteX9-6903" fmla="*/ 932867 w 3638574"/>
                <a:gd name="connsiteY9-6904" fmla="*/ 1924493 h 4492350"/>
                <a:gd name="connsiteX10-6905" fmla="*/ 1037607 w 3638574"/>
                <a:gd name="connsiteY10-6906" fmla="*/ 857226 h 4492350"/>
                <a:gd name="connsiteX11-6907" fmla="*/ 1138710 w 3638574"/>
                <a:gd name="connsiteY11-6908" fmla="*/ 2026621 h 4492350"/>
                <a:gd name="connsiteX12-6909" fmla="*/ 1658679 w 3638574"/>
                <a:gd name="connsiteY12-6910" fmla="*/ 2194318 h 4492350"/>
                <a:gd name="connsiteX13-6911" fmla="*/ 1900430 w 3638574"/>
                <a:gd name="connsiteY13-6912" fmla="*/ 0 h 4492350"/>
                <a:gd name="connsiteX14-6913" fmla="*/ 1971873 w 3638574"/>
                <a:gd name="connsiteY14-6914" fmla="*/ 986216 h 4492350"/>
                <a:gd name="connsiteX15-6915" fmla="*/ 1826002 w 3638574"/>
                <a:gd name="connsiteY15-6916" fmla="*/ 2060385 h 4492350"/>
                <a:gd name="connsiteX16-6917" fmla="*/ 2001533 w 3638574"/>
                <a:gd name="connsiteY16-6918" fmla="*/ 3046321 h 4492350"/>
                <a:gd name="connsiteX17-6919" fmla="*/ 2591546 w 3638574"/>
                <a:gd name="connsiteY17-6920" fmla="*/ 2519916 h 4492350"/>
                <a:gd name="connsiteX18-6921" fmla="*/ 2857733 w 3638574"/>
                <a:gd name="connsiteY18-6922" fmla="*/ 1291762 h 4492350"/>
                <a:gd name="connsiteX19-6923" fmla="*/ 2750848 w 3638574"/>
                <a:gd name="connsiteY19-6924" fmla="*/ 2383091 h 4492350"/>
                <a:gd name="connsiteX20-6925" fmla="*/ 3638574 w 3638574"/>
                <a:gd name="connsiteY20-6926" fmla="*/ 1124252 h 4492350"/>
                <a:gd name="connsiteX21-6927" fmla="*/ 2166244 w 3638574"/>
                <a:gd name="connsiteY21-6928" fmla="*/ 3370521 h 4492350"/>
                <a:gd name="connsiteX22-6929" fmla="*/ 2113081 w 3638574"/>
                <a:gd name="connsiteY22-6930" fmla="*/ 3817088 h 4492350"/>
                <a:gd name="connsiteX23-6931" fmla="*/ 3261397 w 3638574"/>
                <a:gd name="connsiteY23-6932" fmla="*/ 3094074 h 4492350"/>
                <a:gd name="connsiteX24-6933" fmla="*/ 2138356 w 3638574"/>
                <a:gd name="connsiteY24-6934" fmla="*/ 4030951 h 4492350"/>
                <a:gd name="connsiteX25-6935" fmla="*/ 2176877 w 3638574"/>
                <a:gd name="connsiteY25-6936" fmla="*/ 4476307 h 4492350"/>
                <a:gd name="connsiteX26-6937" fmla="*/ 2162233 w 3638574"/>
                <a:gd name="connsiteY26-6938" fmla="*/ 4491415 h 4492350"/>
                <a:gd name="connsiteX27-6939" fmla="*/ 1687779 w 3638574"/>
                <a:gd name="connsiteY27-6940" fmla="*/ 4492350 h 4492350"/>
                <a:gd name="connsiteX0-6941" fmla="*/ 1687779 w 3638574"/>
                <a:gd name="connsiteY0-6942" fmla="*/ 4492350 h 4492350"/>
                <a:gd name="connsiteX1-6943" fmla="*/ 1740942 w 3638574"/>
                <a:gd name="connsiteY1-6944" fmla="*/ 3785190 h 4492350"/>
                <a:gd name="connsiteX2-6945" fmla="*/ 1239812 w 3638574"/>
                <a:gd name="connsiteY2-6946" fmla="*/ 3369121 h 4492350"/>
                <a:gd name="connsiteX3-6947" fmla="*/ 0 w 3638574"/>
                <a:gd name="connsiteY3-6948" fmla="*/ 2917145 h 4492350"/>
                <a:gd name="connsiteX4-6949" fmla="*/ 1087133 w 3638574"/>
                <a:gd name="connsiteY4-6950" fmla="*/ 3238920 h 4492350"/>
                <a:gd name="connsiteX5-6951" fmla="*/ 389581 w 3638574"/>
                <a:gd name="connsiteY5-6952" fmla="*/ 2412005 h 4492350"/>
                <a:gd name="connsiteX6-6953" fmla="*/ 1719677 w 3638574"/>
                <a:gd name="connsiteY6-6954" fmla="*/ 3519376 h 4492350"/>
                <a:gd name="connsiteX7-6955" fmla="*/ 1627995 w 3638574"/>
                <a:gd name="connsiteY7-6956" fmla="*/ 2400346 h 4492350"/>
                <a:gd name="connsiteX8-6957" fmla="*/ 4198 w 3638574"/>
                <a:gd name="connsiteY8-6958" fmla="*/ 742880 h 4492350"/>
                <a:gd name="connsiteX9-6959" fmla="*/ 932867 w 3638574"/>
                <a:gd name="connsiteY9-6960" fmla="*/ 1924493 h 4492350"/>
                <a:gd name="connsiteX10-6961" fmla="*/ 1037607 w 3638574"/>
                <a:gd name="connsiteY10-6962" fmla="*/ 857226 h 4492350"/>
                <a:gd name="connsiteX11-6963" fmla="*/ 1138710 w 3638574"/>
                <a:gd name="connsiteY11-6964" fmla="*/ 2026621 h 4492350"/>
                <a:gd name="connsiteX12-6965" fmla="*/ 1658679 w 3638574"/>
                <a:gd name="connsiteY12-6966" fmla="*/ 2194318 h 4492350"/>
                <a:gd name="connsiteX13-6967" fmla="*/ 1900430 w 3638574"/>
                <a:gd name="connsiteY13-6968" fmla="*/ 0 h 4492350"/>
                <a:gd name="connsiteX14-6969" fmla="*/ 1971873 w 3638574"/>
                <a:gd name="connsiteY14-6970" fmla="*/ 986216 h 4492350"/>
                <a:gd name="connsiteX15-6971" fmla="*/ 1826002 w 3638574"/>
                <a:gd name="connsiteY15-6972" fmla="*/ 2060385 h 4492350"/>
                <a:gd name="connsiteX16-6973" fmla="*/ 2001533 w 3638574"/>
                <a:gd name="connsiteY16-6974" fmla="*/ 3046321 h 4492350"/>
                <a:gd name="connsiteX17-6975" fmla="*/ 2591546 w 3638574"/>
                <a:gd name="connsiteY17-6976" fmla="*/ 2519916 h 4492350"/>
                <a:gd name="connsiteX18-6977" fmla="*/ 2857733 w 3638574"/>
                <a:gd name="connsiteY18-6978" fmla="*/ 1291762 h 4492350"/>
                <a:gd name="connsiteX19-6979" fmla="*/ 2750848 w 3638574"/>
                <a:gd name="connsiteY19-6980" fmla="*/ 2383091 h 4492350"/>
                <a:gd name="connsiteX20-6981" fmla="*/ 3638574 w 3638574"/>
                <a:gd name="connsiteY20-6982" fmla="*/ 1124252 h 4492350"/>
                <a:gd name="connsiteX21-6983" fmla="*/ 2166244 w 3638574"/>
                <a:gd name="connsiteY21-6984" fmla="*/ 3370521 h 4492350"/>
                <a:gd name="connsiteX22-6985" fmla="*/ 2113081 w 3638574"/>
                <a:gd name="connsiteY22-6986" fmla="*/ 3817088 h 4492350"/>
                <a:gd name="connsiteX23-6987" fmla="*/ 3261397 w 3638574"/>
                <a:gd name="connsiteY23-6988" fmla="*/ 3094074 h 4492350"/>
                <a:gd name="connsiteX24-6989" fmla="*/ 2138356 w 3638574"/>
                <a:gd name="connsiteY24-6990" fmla="*/ 4030951 h 4492350"/>
                <a:gd name="connsiteX25-6991" fmla="*/ 2176877 w 3638574"/>
                <a:gd name="connsiteY25-6992" fmla="*/ 4476307 h 4492350"/>
                <a:gd name="connsiteX26-6993" fmla="*/ 2162233 w 3638574"/>
                <a:gd name="connsiteY26-6994" fmla="*/ 4491415 h 4492350"/>
                <a:gd name="connsiteX27-6995" fmla="*/ 1687779 w 3638574"/>
                <a:gd name="connsiteY27-6996" fmla="*/ 4492350 h 4492350"/>
                <a:gd name="connsiteX0-6997" fmla="*/ 1687779 w 3638574"/>
                <a:gd name="connsiteY0-6998" fmla="*/ 4492350 h 4492350"/>
                <a:gd name="connsiteX1-6999" fmla="*/ 1740942 w 3638574"/>
                <a:gd name="connsiteY1-7000" fmla="*/ 3785190 h 4492350"/>
                <a:gd name="connsiteX2-7001" fmla="*/ 1239812 w 3638574"/>
                <a:gd name="connsiteY2-7002" fmla="*/ 3369121 h 4492350"/>
                <a:gd name="connsiteX3-7003" fmla="*/ 0 w 3638574"/>
                <a:gd name="connsiteY3-7004" fmla="*/ 2917145 h 4492350"/>
                <a:gd name="connsiteX4-7005" fmla="*/ 1087133 w 3638574"/>
                <a:gd name="connsiteY4-7006" fmla="*/ 3238920 h 4492350"/>
                <a:gd name="connsiteX5-7007" fmla="*/ 389581 w 3638574"/>
                <a:gd name="connsiteY5-7008" fmla="*/ 2412005 h 4492350"/>
                <a:gd name="connsiteX6-7009" fmla="*/ 1719677 w 3638574"/>
                <a:gd name="connsiteY6-7010" fmla="*/ 3519376 h 4492350"/>
                <a:gd name="connsiteX7-7011" fmla="*/ 1627995 w 3638574"/>
                <a:gd name="connsiteY7-7012" fmla="*/ 2400346 h 4492350"/>
                <a:gd name="connsiteX8-7013" fmla="*/ 4198 w 3638574"/>
                <a:gd name="connsiteY8-7014" fmla="*/ 742880 h 4492350"/>
                <a:gd name="connsiteX9-7015" fmla="*/ 932867 w 3638574"/>
                <a:gd name="connsiteY9-7016" fmla="*/ 1924493 h 4492350"/>
                <a:gd name="connsiteX10-7017" fmla="*/ 1037607 w 3638574"/>
                <a:gd name="connsiteY10-7018" fmla="*/ 857226 h 4492350"/>
                <a:gd name="connsiteX11-7019" fmla="*/ 1138710 w 3638574"/>
                <a:gd name="connsiteY11-7020" fmla="*/ 2026621 h 4492350"/>
                <a:gd name="connsiteX12-7021" fmla="*/ 1658679 w 3638574"/>
                <a:gd name="connsiteY12-7022" fmla="*/ 2194318 h 4492350"/>
                <a:gd name="connsiteX13-7023" fmla="*/ 1900430 w 3638574"/>
                <a:gd name="connsiteY13-7024" fmla="*/ 0 h 4492350"/>
                <a:gd name="connsiteX14-7025" fmla="*/ 1971873 w 3638574"/>
                <a:gd name="connsiteY14-7026" fmla="*/ 986216 h 4492350"/>
                <a:gd name="connsiteX15-7027" fmla="*/ 1826002 w 3638574"/>
                <a:gd name="connsiteY15-7028" fmla="*/ 2060385 h 4492350"/>
                <a:gd name="connsiteX16-7029" fmla="*/ 2001533 w 3638574"/>
                <a:gd name="connsiteY16-7030" fmla="*/ 3046321 h 4492350"/>
                <a:gd name="connsiteX17-7031" fmla="*/ 2591546 w 3638574"/>
                <a:gd name="connsiteY17-7032" fmla="*/ 2519916 h 4492350"/>
                <a:gd name="connsiteX18-7033" fmla="*/ 2857733 w 3638574"/>
                <a:gd name="connsiteY18-7034" fmla="*/ 1291762 h 4492350"/>
                <a:gd name="connsiteX19-7035" fmla="*/ 2750848 w 3638574"/>
                <a:gd name="connsiteY19-7036" fmla="*/ 2383091 h 4492350"/>
                <a:gd name="connsiteX20-7037" fmla="*/ 3638574 w 3638574"/>
                <a:gd name="connsiteY20-7038" fmla="*/ 1124252 h 4492350"/>
                <a:gd name="connsiteX21-7039" fmla="*/ 2166244 w 3638574"/>
                <a:gd name="connsiteY21-7040" fmla="*/ 3370521 h 4492350"/>
                <a:gd name="connsiteX22-7041" fmla="*/ 2113081 w 3638574"/>
                <a:gd name="connsiteY22-7042" fmla="*/ 3817088 h 4492350"/>
                <a:gd name="connsiteX23-7043" fmla="*/ 3261397 w 3638574"/>
                <a:gd name="connsiteY23-7044" fmla="*/ 3094074 h 4492350"/>
                <a:gd name="connsiteX24-7045" fmla="*/ 2138356 w 3638574"/>
                <a:gd name="connsiteY24-7046" fmla="*/ 4030951 h 4492350"/>
                <a:gd name="connsiteX25-7047" fmla="*/ 2176877 w 3638574"/>
                <a:gd name="connsiteY25-7048" fmla="*/ 4476307 h 4492350"/>
                <a:gd name="connsiteX26-7049" fmla="*/ 2162233 w 3638574"/>
                <a:gd name="connsiteY26-7050" fmla="*/ 4491415 h 4492350"/>
                <a:gd name="connsiteX27-7051" fmla="*/ 1687779 w 3638574"/>
                <a:gd name="connsiteY27-7052" fmla="*/ 4492350 h 4492350"/>
                <a:gd name="connsiteX0-7053" fmla="*/ 1687779 w 3638574"/>
                <a:gd name="connsiteY0-7054" fmla="*/ 4492350 h 4492350"/>
                <a:gd name="connsiteX1-7055" fmla="*/ 1740942 w 3638574"/>
                <a:gd name="connsiteY1-7056" fmla="*/ 3785190 h 4492350"/>
                <a:gd name="connsiteX2-7057" fmla="*/ 1239812 w 3638574"/>
                <a:gd name="connsiteY2-7058" fmla="*/ 3369121 h 4492350"/>
                <a:gd name="connsiteX3-7059" fmla="*/ 0 w 3638574"/>
                <a:gd name="connsiteY3-7060" fmla="*/ 2917145 h 4492350"/>
                <a:gd name="connsiteX4-7061" fmla="*/ 1087133 w 3638574"/>
                <a:gd name="connsiteY4-7062" fmla="*/ 3238920 h 4492350"/>
                <a:gd name="connsiteX5-7063" fmla="*/ 389581 w 3638574"/>
                <a:gd name="connsiteY5-7064" fmla="*/ 2412005 h 4492350"/>
                <a:gd name="connsiteX6-7065" fmla="*/ 1719677 w 3638574"/>
                <a:gd name="connsiteY6-7066" fmla="*/ 3519376 h 4492350"/>
                <a:gd name="connsiteX7-7067" fmla="*/ 1627995 w 3638574"/>
                <a:gd name="connsiteY7-7068" fmla="*/ 2400346 h 4492350"/>
                <a:gd name="connsiteX8-7069" fmla="*/ 4198 w 3638574"/>
                <a:gd name="connsiteY8-7070" fmla="*/ 742880 h 4492350"/>
                <a:gd name="connsiteX9-7071" fmla="*/ 932867 w 3638574"/>
                <a:gd name="connsiteY9-7072" fmla="*/ 1924493 h 4492350"/>
                <a:gd name="connsiteX10-7073" fmla="*/ 1037607 w 3638574"/>
                <a:gd name="connsiteY10-7074" fmla="*/ 857226 h 4492350"/>
                <a:gd name="connsiteX11-7075" fmla="*/ 1138710 w 3638574"/>
                <a:gd name="connsiteY11-7076" fmla="*/ 2026621 h 4492350"/>
                <a:gd name="connsiteX12-7077" fmla="*/ 1658679 w 3638574"/>
                <a:gd name="connsiteY12-7078" fmla="*/ 2194318 h 4492350"/>
                <a:gd name="connsiteX13-7079" fmla="*/ 1900430 w 3638574"/>
                <a:gd name="connsiteY13-7080" fmla="*/ 0 h 4492350"/>
                <a:gd name="connsiteX14-7081" fmla="*/ 1971873 w 3638574"/>
                <a:gd name="connsiteY14-7082" fmla="*/ 986216 h 4492350"/>
                <a:gd name="connsiteX15-7083" fmla="*/ 1826002 w 3638574"/>
                <a:gd name="connsiteY15-7084" fmla="*/ 2060385 h 4492350"/>
                <a:gd name="connsiteX16-7085" fmla="*/ 2001533 w 3638574"/>
                <a:gd name="connsiteY16-7086" fmla="*/ 3046321 h 4492350"/>
                <a:gd name="connsiteX17-7087" fmla="*/ 2591546 w 3638574"/>
                <a:gd name="connsiteY17-7088" fmla="*/ 2519916 h 4492350"/>
                <a:gd name="connsiteX18-7089" fmla="*/ 2857733 w 3638574"/>
                <a:gd name="connsiteY18-7090" fmla="*/ 1291762 h 4492350"/>
                <a:gd name="connsiteX19-7091" fmla="*/ 2750848 w 3638574"/>
                <a:gd name="connsiteY19-7092" fmla="*/ 2383091 h 4492350"/>
                <a:gd name="connsiteX20-7093" fmla="*/ 3638574 w 3638574"/>
                <a:gd name="connsiteY20-7094" fmla="*/ 1124252 h 4492350"/>
                <a:gd name="connsiteX21-7095" fmla="*/ 2166244 w 3638574"/>
                <a:gd name="connsiteY21-7096" fmla="*/ 3370521 h 4492350"/>
                <a:gd name="connsiteX22-7097" fmla="*/ 2113081 w 3638574"/>
                <a:gd name="connsiteY22-7098" fmla="*/ 3817088 h 4492350"/>
                <a:gd name="connsiteX23-7099" fmla="*/ 3261397 w 3638574"/>
                <a:gd name="connsiteY23-7100" fmla="*/ 3094074 h 4492350"/>
                <a:gd name="connsiteX24-7101" fmla="*/ 2138356 w 3638574"/>
                <a:gd name="connsiteY24-7102" fmla="*/ 4030951 h 4492350"/>
                <a:gd name="connsiteX25-7103" fmla="*/ 2176877 w 3638574"/>
                <a:gd name="connsiteY25-7104" fmla="*/ 4476307 h 4492350"/>
                <a:gd name="connsiteX26-7105" fmla="*/ 2162233 w 3638574"/>
                <a:gd name="connsiteY26-7106" fmla="*/ 4491415 h 4492350"/>
                <a:gd name="connsiteX27-7107" fmla="*/ 1687779 w 3638574"/>
                <a:gd name="connsiteY27-7108" fmla="*/ 4492350 h 4492350"/>
                <a:gd name="connsiteX0-7109" fmla="*/ 1687779 w 3638574"/>
                <a:gd name="connsiteY0-7110" fmla="*/ 4492350 h 4492350"/>
                <a:gd name="connsiteX1-7111" fmla="*/ 1740942 w 3638574"/>
                <a:gd name="connsiteY1-7112" fmla="*/ 3785190 h 4492350"/>
                <a:gd name="connsiteX2-7113" fmla="*/ 1239812 w 3638574"/>
                <a:gd name="connsiteY2-7114" fmla="*/ 3369121 h 4492350"/>
                <a:gd name="connsiteX3-7115" fmla="*/ 0 w 3638574"/>
                <a:gd name="connsiteY3-7116" fmla="*/ 2917145 h 4492350"/>
                <a:gd name="connsiteX4-7117" fmla="*/ 1087133 w 3638574"/>
                <a:gd name="connsiteY4-7118" fmla="*/ 3238920 h 4492350"/>
                <a:gd name="connsiteX5-7119" fmla="*/ 389581 w 3638574"/>
                <a:gd name="connsiteY5-7120" fmla="*/ 2412005 h 4492350"/>
                <a:gd name="connsiteX6-7121" fmla="*/ 1719677 w 3638574"/>
                <a:gd name="connsiteY6-7122" fmla="*/ 3519376 h 4492350"/>
                <a:gd name="connsiteX7-7123" fmla="*/ 1627995 w 3638574"/>
                <a:gd name="connsiteY7-7124" fmla="*/ 2400346 h 4492350"/>
                <a:gd name="connsiteX8-7125" fmla="*/ 4198 w 3638574"/>
                <a:gd name="connsiteY8-7126" fmla="*/ 742880 h 4492350"/>
                <a:gd name="connsiteX9-7127" fmla="*/ 932867 w 3638574"/>
                <a:gd name="connsiteY9-7128" fmla="*/ 1924493 h 4492350"/>
                <a:gd name="connsiteX10-7129" fmla="*/ 1037607 w 3638574"/>
                <a:gd name="connsiteY10-7130" fmla="*/ 857226 h 4492350"/>
                <a:gd name="connsiteX11-7131" fmla="*/ 1138710 w 3638574"/>
                <a:gd name="connsiteY11-7132" fmla="*/ 2026621 h 4492350"/>
                <a:gd name="connsiteX12-7133" fmla="*/ 1646038 w 3638574"/>
                <a:gd name="connsiteY12-7134" fmla="*/ 2198532 h 4492350"/>
                <a:gd name="connsiteX13-7135" fmla="*/ 1900430 w 3638574"/>
                <a:gd name="connsiteY13-7136" fmla="*/ 0 h 4492350"/>
                <a:gd name="connsiteX14-7137" fmla="*/ 1971873 w 3638574"/>
                <a:gd name="connsiteY14-7138" fmla="*/ 986216 h 4492350"/>
                <a:gd name="connsiteX15-7139" fmla="*/ 1826002 w 3638574"/>
                <a:gd name="connsiteY15-7140" fmla="*/ 2060385 h 4492350"/>
                <a:gd name="connsiteX16-7141" fmla="*/ 2001533 w 3638574"/>
                <a:gd name="connsiteY16-7142" fmla="*/ 3046321 h 4492350"/>
                <a:gd name="connsiteX17-7143" fmla="*/ 2591546 w 3638574"/>
                <a:gd name="connsiteY17-7144" fmla="*/ 2519916 h 4492350"/>
                <a:gd name="connsiteX18-7145" fmla="*/ 2857733 w 3638574"/>
                <a:gd name="connsiteY18-7146" fmla="*/ 1291762 h 4492350"/>
                <a:gd name="connsiteX19-7147" fmla="*/ 2750848 w 3638574"/>
                <a:gd name="connsiteY19-7148" fmla="*/ 2383091 h 4492350"/>
                <a:gd name="connsiteX20-7149" fmla="*/ 3638574 w 3638574"/>
                <a:gd name="connsiteY20-7150" fmla="*/ 1124252 h 4492350"/>
                <a:gd name="connsiteX21-7151" fmla="*/ 2166244 w 3638574"/>
                <a:gd name="connsiteY21-7152" fmla="*/ 3370521 h 4492350"/>
                <a:gd name="connsiteX22-7153" fmla="*/ 2113081 w 3638574"/>
                <a:gd name="connsiteY22-7154" fmla="*/ 3817088 h 4492350"/>
                <a:gd name="connsiteX23-7155" fmla="*/ 3261397 w 3638574"/>
                <a:gd name="connsiteY23-7156" fmla="*/ 3094074 h 4492350"/>
                <a:gd name="connsiteX24-7157" fmla="*/ 2138356 w 3638574"/>
                <a:gd name="connsiteY24-7158" fmla="*/ 4030951 h 4492350"/>
                <a:gd name="connsiteX25-7159" fmla="*/ 2176877 w 3638574"/>
                <a:gd name="connsiteY25-7160" fmla="*/ 4476307 h 4492350"/>
                <a:gd name="connsiteX26-7161" fmla="*/ 2162233 w 3638574"/>
                <a:gd name="connsiteY26-7162" fmla="*/ 4491415 h 4492350"/>
                <a:gd name="connsiteX27-7163" fmla="*/ 1687779 w 3638574"/>
                <a:gd name="connsiteY27-7164" fmla="*/ 4492350 h 4492350"/>
                <a:gd name="connsiteX0-7165" fmla="*/ 1687779 w 3638574"/>
                <a:gd name="connsiteY0-7166" fmla="*/ 4492350 h 4492350"/>
                <a:gd name="connsiteX1-7167" fmla="*/ 1719873 w 3638574"/>
                <a:gd name="connsiteY1-7168" fmla="*/ 3785190 h 4492350"/>
                <a:gd name="connsiteX2-7169" fmla="*/ 1239812 w 3638574"/>
                <a:gd name="connsiteY2-7170" fmla="*/ 3369121 h 4492350"/>
                <a:gd name="connsiteX3-7171" fmla="*/ 0 w 3638574"/>
                <a:gd name="connsiteY3-7172" fmla="*/ 2917145 h 4492350"/>
                <a:gd name="connsiteX4-7173" fmla="*/ 1087133 w 3638574"/>
                <a:gd name="connsiteY4-7174" fmla="*/ 3238920 h 4492350"/>
                <a:gd name="connsiteX5-7175" fmla="*/ 389581 w 3638574"/>
                <a:gd name="connsiteY5-7176" fmla="*/ 2412005 h 4492350"/>
                <a:gd name="connsiteX6-7177" fmla="*/ 1719677 w 3638574"/>
                <a:gd name="connsiteY6-7178" fmla="*/ 3519376 h 4492350"/>
                <a:gd name="connsiteX7-7179" fmla="*/ 1627995 w 3638574"/>
                <a:gd name="connsiteY7-7180" fmla="*/ 2400346 h 4492350"/>
                <a:gd name="connsiteX8-7181" fmla="*/ 4198 w 3638574"/>
                <a:gd name="connsiteY8-7182" fmla="*/ 742880 h 4492350"/>
                <a:gd name="connsiteX9-7183" fmla="*/ 932867 w 3638574"/>
                <a:gd name="connsiteY9-7184" fmla="*/ 1924493 h 4492350"/>
                <a:gd name="connsiteX10-7185" fmla="*/ 1037607 w 3638574"/>
                <a:gd name="connsiteY10-7186" fmla="*/ 857226 h 4492350"/>
                <a:gd name="connsiteX11-7187" fmla="*/ 1138710 w 3638574"/>
                <a:gd name="connsiteY11-7188" fmla="*/ 2026621 h 4492350"/>
                <a:gd name="connsiteX12-7189" fmla="*/ 1646038 w 3638574"/>
                <a:gd name="connsiteY12-7190" fmla="*/ 2198532 h 4492350"/>
                <a:gd name="connsiteX13-7191" fmla="*/ 1900430 w 3638574"/>
                <a:gd name="connsiteY13-7192" fmla="*/ 0 h 4492350"/>
                <a:gd name="connsiteX14-7193" fmla="*/ 1971873 w 3638574"/>
                <a:gd name="connsiteY14-7194" fmla="*/ 986216 h 4492350"/>
                <a:gd name="connsiteX15-7195" fmla="*/ 1826002 w 3638574"/>
                <a:gd name="connsiteY15-7196" fmla="*/ 2060385 h 4492350"/>
                <a:gd name="connsiteX16-7197" fmla="*/ 2001533 w 3638574"/>
                <a:gd name="connsiteY16-7198" fmla="*/ 3046321 h 4492350"/>
                <a:gd name="connsiteX17-7199" fmla="*/ 2591546 w 3638574"/>
                <a:gd name="connsiteY17-7200" fmla="*/ 2519916 h 4492350"/>
                <a:gd name="connsiteX18-7201" fmla="*/ 2857733 w 3638574"/>
                <a:gd name="connsiteY18-7202" fmla="*/ 1291762 h 4492350"/>
                <a:gd name="connsiteX19-7203" fmla="*/ 2750848 w 3638574"/>
                <a:gd name="connsiteY19-7204" fmla="*/ 2383091 h 4492350"/>
                <a:gd name="connsiteX20-7205" fmla="*/ 3638574 w 3638574"/>
                <a:gd name="connsiteY20-7206" fmla="*/ 1124252 h 4492350"/>
                <a:gd name="connsiteX21-7207" fmla="*/ 2166244 w 3638574"/>
                <a:gd name="connsiteY21-7208" fmla="*/ 3370521 h 4492350"/>
                <a:gd name="connsiteX22-7209" fmla="*/ 2113081 w 3638574"/>
                <a:gd name="connsiteY22-7210" fmla="*/ 3817088 h 4492350"/>
                <a:gd name="connsiteX23-7211" fmla="*/ 3261397 w 3638574"/>
                <a:gd name="connsiteY23-7212" fmla="*/ 3094074 h 4492350"/>
                <a:gd name="connsiteX24-7213" fmla="*/ 2138356 w 3638574"/>
                <a:gd name="connsiteY24-7214" fmla="*/ 4030951 h 4492350"/>
                <a:gd name="connsiteX25-7215" fmla="*/ 2176877 w 3638574"/>
                <a:gd name="connsiteY25-7216" fmla="*/ 4476307 h 4492350"/>
                <a:gd name="connsiteX26-7217" fmla="*/ 2162233 w 3638574"/>
                <a:gd name="connsiteY26-7218" fmla="*/ 4491415 h 4492350"/>
                <a:gd name="connsiteX27-7219" fmla="*/ 1687779 w 3638574"/>
                <a:gd name="connsiteY27-7220" fmla="*/ 4492350 h 4492350"/>
                <a:gd name="connsiteX0-7221" fmla="*/ 1687779 w 3638574"/>
                <a:gd name="connsiteY0-7222" fmla="*/ 4492350 h 4492350"/>
                <a:gd name="connsiteX1-7223" fmla="*/ 1703018 w 3638574"/>
                <a:gd name="connsiteY1-7224" fmla="*/ 3785190 h 4492350"/>
                <a:gd name="connsiteX2-7225" fmla="*/ 1239812 w 3638574"/>
                <a:gd name="connsiteY2-7226" fmla="*/ 3369121 h 4492350"/>
                <a:gd name="connsiteX3-7227" fmla="*/ 0 w 3638574"/>
                <a:gd name="connsiteY3-7228" fmla="*/ 2917145 h 4492350"/>
                <a:gd name="connsiteX4-7229" fmla="*/ 1087133 w 3638574"/>
                <a:gd name="connsiteY4-7230" fmla="*/ 3238920 h 4492350"/>
                <a:gd name="connsiteX5-7231" fmla="*/ 389581 w 3638574"/>
                <a:gd name="connsiteY5-7232" fmla="*/ 2412005 h 4492350"/>
                <a:gd name="connsiteX6-7233" fmla="*/ 1719677 w 3638574"/>
                <a:gd name="connsiteY6-7234" fmla="*/ 3519376 h 4492350"/>
                <a:gd name="connsiteX7-7235" fmla="*/ 1627995 w 3638574"/>
                <a:gd name="connsiteY7-7236" fmla="*/ 2400346 h 4492350"/>
                <a:gd name="connsiteX8-7237" fmla="*/ 4198 w 3638574"/>
                <a:gd name="connsiteY8-7238" fmla="*/ 742880 h 4492350"/>
                <a:gd name="connsiteX9-7239" fmla="*/ 932867 w 3638574"/>
                <a:gd name="connsiteY9-7240" fmla="*/ 1924493 h 4492350"/>
                <a:gd name="connsiteX10-7241" fmla="*/ 1037607 w 3638574"/>
                <a:gd name="connsiteY10-7242" fmla="*/ 857226 h 4492350"/>
                <a:gd name="connsiteX11-7243" fmla="*/ 1138710 w 3638574"/>
                <a:gd name="connsiteY11-7244" fmla="*/ 2026621 h 4492350"/>
                <a:gd name="connsiteX12-7245" fmla="*/ 1646038 w 3638574"/>
                <a:gd name="connsiteY12-7246" fmla="*/ 2198532 h 4492350"/>
                <a:gd name="connsiteX13-7247" fmla="*/ 1900430 w 3638574"/>
                <a:gd name="connsiteY13-7248" fmla="*/ 0 h 4492350"/>
                <a:gd name="connsiteX14-7249" fmla="*/ 1971873 w 3638574"/>
                <a:gd name="connsiteY14-7250" fmla="*/ 986216 h 4492350"/>
                <a:gd name="connsiteX15-7251" fmla="*/ 1826002 w 3638574"/>
                <a:gd name="connsiteY15-7252" fmla="*/ 2060385 h 4492350"/>
                <a:gd name="connsiteX16-7253" fmla="*/ 2001533 w 3638574"/>
                <a:gd name="connsiteY16-7254" fmla="*/ 3046321 h 4492350"/>
                <a:gd name="connsiteX17-7255" fmla="*/ 2591546 w 3638574"/>
                <a:gd name="connsiteY17-7256" fmla="*/ 2519916 h 4492350"/>
                <a:gd name="connsiteX18-7257" fmla="*/ 2857733 w 3638574"/>
                <a:gd name="connsiteY18-7258" fmla="*/ 1291762 h 4492350"/>
                <a:gd name="connsiteX19-7259" fmla="*/ 2750848 w 3638574"/>
                <a:gd name="connsiteY19-7260" fmla="*/ 2383091 h 4492350"/>
                <a:gd name="connsiteX20-7261" fmla="*/ 3638574 w 3638574"/>
                <a:gd name="connsiteY20-7262" fmla="*/ 1124252 h 4492350"/>
                <a:gd name="connsiteX21-7263" fmla="*/ 2166244 w 3638574"/>
                <a:gd name="connsiteY21-7264" fmla="*/ 3370521 h 4492350"/>
                <a:gd name="connsiteX22-7265" fmla="*/ 2113081 w 3638574"/>
                <a:gd name="connsiteY22-7266" fmla="*/ 3817088 h 4492350"/>
                <a:gd name="connsiteX23-7267" fmla="*/ 3261397 w 3638574"/>
                <a:gd name="connsiteY23-7268" fmla="*/ 3094074 h 4492350"/>
                <a:gd name="connsiteX24-7269" fmla="*/ 2138356 w 3638574"/>
                <a:gd name="connsiteY24-7270" fmla="*/ 4030951 h 4492350"/>
                <a:gd name="connsiteX25-7271" fmla="*/ 2176877 w 3638574"/>
                <a:gd name="connsiteY25-7272" fmla="*/ 4476307 h 4492350"/>
                <a:gd name="connsiteX26-7273" fmla="*/ 2162233 w 3638574"/>
                <a:gd name="connsiteY26-7274" fmla="*/ 4491415 h 4492350"/>
                <a:gd name="connsiteX27-7275" fmla="*/ 1687779 w 3638574"/>
                <a:gd name="connsiteY27-7276" fmla="*/ 4492350 h 4492350"/>
                <a:gd name="connsiteX0-7277" fmla="*/ 1687779 w 3638574"/>
                <a:gd name="connsiteY0-7278" fmla="*/ 4492350 h 4492350"/>
                <a:gd name="connsiteX1-7279" fmla="*/ 1703018 w 3638574"/>
                <a:gd name="connsiteY1-7280" fmla="*/ 3785190 h 4492350"/>
                <a:gd name="connsiteX2-7281" fmla="*/ 1239812 w 3638574"/>
                <a:gd name="connsiteY2-7282" fmla="*/ 3369121 h 4492350"/>
                <a:gd name="connsiteX3-7283" fmla="*/ 0 w 3638574"/>
                <a:gd name="connsiteY3-7284" fmla="*/ 2917145 h 4492350"/>
                <a:gd name="connsiteX4-7285" fmla="*/ 1087133 w 3638574"/>
                <a:gd name="connsiteY4-7286" fmla="*/ 3238920 h 4492350"/>
                <a:gd name="connsiteX5-7287" fmla="*/ 389581 w 3638574"/>
                <a:gd name="connsiteY5-7288" fmla="*/ 2412005 h 4492350"/>
                <a:gd name="connsiteX6-7289" fmla="*/ 1719677 w 3638574"/>
                <a:gd name="connsiteY6-7290" fmla="*/ 3519376 h 4492350"/>
                <a:gd name="connsiteX7-7291" fmla="*/ 1627995 w 3638574"/>
                <a:gd name="connsiteY7-7292" fmla="*/ 2400346 h 4492350"/>
                <a:gd name="connsiteX8-7293" fmla="*/ 4198 w 3638574"/>
                <a:gd name="connsiteY8-7294" fmla="*/ 742880 h 4492350"/>
                <a:gd name="connsiteX9-7295" fmla="*/ 932867 w 3638574"/>
                <a:gd name="connsiteY9-7296" fmla="*/ 1924493 h 4492350"/>
                <a:gd name="connsiteX10-7297" fmla="*/ 1037607 w 3638574"/>
                <a:gd name="connsiteY10-7298" fmla="*/ 857226 h 4492350"/>
                <a:gd name="connsiteX11-7299" fmla="*/ 1138710 w 3638574"/>
                <a:gd name="connsiteY11-7300" fmla="*/ 2026621 h 4492350"/>
                <a:gd name="connsiteX12-7301" fmla="*/ 1646038 w 3638574"/>
                <a:gd name="connsiteY12-7302" fmla="*/ 2198532 h 4492350"/>
                <a:gd name="connsiteX13-7303" fmla="*/ 1900430 w 3638574"/>
                <a:gd name="connsiteY13-7304" fmla="*/ 0 h 4492350"/>
                <a:gd name="connsiteX14-7305" fmla="*/ 1971873 w 3638574"/>
                <a:gd name="connsiteY14-7306" fmla="*/ 986216 h 4492350"/>
                <a:gd name="connsiteX15-7307" fmla="*/ 1826002 w 3638574"/>
                <a:gd name="connsiteY15-7308" fmla="*/ 2060385 h 4492350"/>
                <a:gd name="connsiteX16-7309" fmla="*/ 2001533 w 3638574"/>
                <a:gd name="connsiteY16-7310" fmla="*/ 3046321 h 4492350"/>
                <a:gd name="connsiteX17-7311" fmla="*/ 2591546 w 3638574"/>
                <a:gd name="connsiteY17-7312" fmla="*/ 2519916 h 4492350"/>
                <a:gd name="connsiteX18-7313" fmla="*/ 2857733 w 3638574"/>
                <a:gd name="connsiteY18-7314" fmla="*/ 1291762 h 4492350"/>
                <a:gd name="connsiteX19-7315" fmla="*/ 2750848 w 3638574"/>
                <a:gd name="connsiteY19-7316" fmla="*/ 2383091 h 4492350"/>
                <a:gd name="connsiteX20-7317" fmla="*/ 3638574 w 3638574"/>
                <a:gd name="connsiteY20-7318" fmla="*/ 1124252 h 4492350"/>
                <a:gd name="connsiteX21-7319" fmla="*/ 2166244 w 3638574"/>
                <a:gd name="connsiteY21-7320" fmla="*/ 3370521 h 4492350"/>
                <a:gd name="connsiteX22-7321" fmla="*/ 2121509 w 3638574"/>
                <a:gd name="connsiteY22-7322" fmla="*/ 3808660 h 4492350"/>
                <a:gd name="connsiteX23-7323" fmla="*/ 3261397 w 3638574"/>
                <a:gd name="connsiteY23-7324" fmla="*/ 3094074 h 4492350"/>
                <a:gd name="connsiteX24-7325" fmla="*/ 2138356 w 3638574"/>
                <a:gd name="connsiteY24-7326" fmla="*/ 4030951 h 4492350"/>
                <a:gd name="connsiteX25-7327" fmla="*/ 2176877 w 3638574"/>
                <a:gd name="connsiteY25-7328" fmla="*/ 4476307 h 4492350"/>
                <a:gd name="connsiteX26-7329" fmla="*/ 2162233 w 3638574"/>
                <a:gd name="connsiteY26-7330" fmla="*/ 4491415 h 4492350"/>
                <a:gd name="connsiteX27-7331" fmla="*/ 1687779 w 3638574"/>
                <a:gd name="connsiteY27-7332" fmla="*/ 4492350 h 449235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  <a:cxn ang="0">
                  <a:pos x="connsiteX14-29" y="connsiteY14-30"/>
                </a:cxn>
                <a:cxn ang="0">
                  <a:pos x="connsiteX15-31" y="connsiteY15-32"/>
                </a:cxn>
                <a:cxn ang="0">
                  <a:pos x="connsiteX16-33" y="connsiteY16-34"/>
                </a:cxn>
                <a:cxn ang="0">
                  <a:pos x="connsiteX17-35" y="connsiteY17-36"/>
                </a:cxn>
                <a:cxn ang="0">
                  <a:pos x="connsiteX18-37" y="connsiteY18-38"/>
                </a:cxn>
                <a:cxn ang="0">
                  <a:pos x="connsiteX19-39" y="connsiteY19-40"/>
                </a:cxn>
                <a:cxn ang="0">
                  <a:pos x="connsiteX20-41" y="connsiteY20-42"/>
                </a:cxn>
                <a:cxn ang="0">
                  <a:pos x="connsiteX21-43" y="connsiteY21-44"/>
                </a:cxn>
                <a:cxn ang="0">
                  <a:pos x="connsiteX22-45" y="connsiteY22-46"/>
                </a:cxn>
                <a:cxn ang="0">
                  <a:pos x="connsiteX23-47" y="connsiteY23-48"/>
                </a:cxn>
                <a:cxn ang="0">
                  <a:pos x="connsiteX24-49" y="connsiteY24-50"/>
                </a:cxn>
                <a:cxn ang="0">
                  <a:pos x="connsiteX25-51" y="connsiteY25-52"/>
                </a:cxn>
                <a:cxn ang="0">
                  <a:pos x="connsiteX26-53" y="connsiteY26-54"/>
                </a:cxn>
                <a:cxn ang="0">
                  <a:pos x="connsiteX27-163" y="connsiteY27-164"/>
                </a:cxn>
              </a:cxnLst>
              <a:rect l="l" t="t" r="r" b="b"/>
              <a:pathLst>
                <a:path w="3638574" h="4492350">
                  <a:moveTo>
                    <a:pt x="1687779" y="4492350"/>
                  </a:moveTo>
                  <a:cubicBezTo>
                    <a:pt x="1649353" y="4280693"/>
                    <a:pt x="1685297" y="4020910"/>
                    <a:pt x="1703018" y="3785190"/>
                  </a:cubicBezTo>
                  <a:lnTo>
                    <a:pt x="1239812" y="3369121"/>
                  </a:lnTo>
                  <a:cubicBezTo>
                    <a:pt x="710236" y="3436368"/>
                    <a:pt x="325039" y="3138656"/>
                    <a:pt x="0" y="2917145"/>
                  </a:cubicBezTo>
                  <a:cubicBezTo>
                    <a:pt x="370399" y="3119320"/>
                    <a:pt x="1037576" y="3333525"/>
                    <a:pt x="1087133" y="3238920"/>
                  </a:cubicBezTo>
                  <a:cubicBezTo>
                    <a:pt x="945521" y="3141082"/>
                    <a:pt x="539214" y="2730422"/>
                    <a:pt x="389581" y="2412005"/>
                  </a:cubicBezTo>
                  <a:cubicBezTo>
                    <a:pt x="859682" y="2946896"/>
                    <a:pt x="1430048" y="3277253"/>
                    <a:pt x="1719677" y="3519376"/>
                  </a:cubicBezTo>
                  <a:cubicBezTo>
                    <a:pt x="1735906" y="3304113"/>
                    <a:pt x="1659893" y="2776030"/>
                    <a:pt x="1627995" y="2400346"/>
                  </a:cubicBezTo>
                  <a:cubicBezTo>
                    <a:pt x="725782" y="2160678"/>
                    <a:pt x="172484" y="1536000"/>
                    <a:pt x="4198" y="742880"/>
                  </a:cubicBezTo>
                  <a:cubicBezTo>
                    <a:pt x="248250" y="1210277"/>
                    <a:pt x="456205" y="1649601"/>
                    <a:pt x="932867" y="1924493"/>
                  </a:cubicBezTo>
                  <a:cubicBezTo>
                    <a:pt x="1158949" y="1666327"/>
                    <a:pt x="1108304" y="1211645"/>
                    <a:pt x="1037607" y="857226"/>
                  </a:cubicBezTo>
                  <a:cubicBezTo>
                    <a:pt x="1222371" y="1153446"/>
                    <a:pt x="1266767" y="1586023"/>
                    <a:pt x="1138710" y="2026621"/>
                  </a:cubicBezTo>
                  <a:cubicBezTo>
                    <a:pt x="1250538" y="2109256"/>
                    <a:pt x="1570304" y="2252254"/>
                    <a:pt x="1646038" y="2198532"/>
                  </a:cubicBezTo>
                  <a:cubicBezTo>
                    <a:pt x="1690527" y="1476450"/>
                    <a:pt x="1904067" y="874481"/>
                    <a:pt x="1900430" y="0"/>
                  </a:cubicBezTo>
                  <a:cubicBezTo>
                    <a:pt x="1976693" y="192349"/>
                    <a:pt x="2015482" y="645373"/>
                    <a:pt x="1971873" y="986216"/>
                  </a:cubicBezTo>
                  <a:cubicBezTo>
                    <a:pt x="1947436" y="1177213"/>
                    <a:pt x="1846749" y="1657958"/>
                    <a:pt x="1826002" y="2060385"/>
                  </a:cubicBezTo>
                  <a:cubicBezTo>
                    <a:pt x="1811014" y="2351099"/>
                    <a:pt x="1951043" y="3007770"/>
                    <a:pt x="2001533" y="3046321"/>
                  </a:cubicBezTo>
                  <a:cubicBezTo>
                    <a:pt x="2041794" y="3055338"/>
                    <a:pt x="2575349" y="2567047"/>
                    <a:pt x="2591546" y="2519916"/>
                  </a:cubicBezTo>
                  <a:cubicBezTo>
                    <a:pt x="2482423" y="2107858"/>
                    <a:pt x="2569814" y="1503293"/>
                    <a:pt x="2857733" y="1291762"/>
                  </a:cubicBezTo>
                  <a:cubicBezTo>
                    <a:pt x="2648315" y="1639496"/>
                    <a:pt x="2663487" y="2195777"/>
                    <a:pt x="2750848" y="2383091"/>
                  </a:cubicBezTo>
                  <a:cubicBezTo>
                    <a:pt x="3066810" y="2282983"/>
                    <a:pt x="3503085" y="1513118"/>
                    <a:pt x="3638574" y="1124252"/>
                  </a:cubicBezTo>
                  <a:cubicBezTo>
                    <a:pt x="3492704" y="2254009"/>
                    <a:pt x="2460505" y="2814271"/>
                    <a:pt x="2166244" y="3370521"/>
                  </a:cubicBezTo>
                  <a:cubicBezTo>
                    <a:pt x="2148523" y="3519377"/>
                    <a:pt x="2147251" y="3667825"/>
                    <a:pt x="2121509" y="3808660"/>
                  </a:cubicBezTo>
                  <a:cubicBezTo>
                    <a:pt x="2452144" y="3808286"/>
                    <a:pt x="3159362" y="3298984"/>
                    <a:pt x="3261397" y="3094074"/>
                  </a:cubicBezTo>
                  <a:cubicBezTo>
                    <a:pt x="3262702" y="3429094"/>
                    <a:pt x="2493987" y="3820258"/>
                    <a:pt x="2138356" y="4030951"/>
                  </a:cubicBezTo>
                  <a:cubicBezTo>
                    <a:pt x="2116438" y="4040371"/>
                    <a:pt x="2182753" y="4334539"/>
                    <a:pt x="2176877" y="4476307"/>
                  </a:cubicBezTo>
                  <a:cubicBezTo>
                    <a:pt x="2170659" y="4477332"/>
                    <a:pt x="2168451" y="4490390"/>
                    <a:pt x="2162233" y="4491415"/>
                  </a:cubicBezTo>
                  <a:lnTo>
                    <a:pt x="1687779" y="449235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椭圆 9"/>
            <p:cNvSpPr>
              <a:spLocks noChangeAspect="1"/>
            </p:cNvSpPr>
            <p:nvPr/>
          </p:nvSpPr>
          <p:spPr>
            <a:xfrm>
              <a:off x="3067346" y="649312"/>
              <a:ext cx="576000" cy="576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椭圆 10"/>
            <p:cNvSpPr>
              <a:spLocks noChangeAspect="1"/>
            </p:cNvSpPr>
            <p:nvPr/>
          </p:nvSpPr>
          <p:spPr>
            <a:xfrm>
              <a:off x="4800885" y="1838946"/>
              <a:ext cx="576000" cy="576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>
              <a:spLocks noChangeAspect="1"/>
            </p:cNvSpPr>
            <p:nvPr/>
          </p:nvSpPr>
          <p:spPr>
            <a:xfrm>
              <a:off x="1203356" y="1393823"/>
              <a:ext cx="576000" cy="576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椭圆 12"/>
            <p:cNvSpPr>
              <a:spLocks noChangeAspect="1"/>
            </p:cNvSpPr>
            <p:nvPr/>
          </p:nvSpPr>
          <p:spPr>
            <a:xfrm>
              <a:off x="1141364" y="3598492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椭圆 13"/>
            <p:cNvSpPr>
              <a:spLocks noChangeAspect="1"/>
            </p:cNvSpPr>
            <p:nvPr/>
          </p:nvSpPr>
          <p:spPr>
            <a:xfrm>
              <a:off x="4553930" y="3743424"/>
              <a:ext cx="576000" cy="576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椭圆 14"/>
            <p:cNvSpPr>
              <a:spLocks noChangeAspect="1"/>
            </p:cNvSpPr>
            <p:nvPr/>
          </p:nvSpPr>
          <p:spPr>
            <a:xfrm>
              <a:off x="4008926" y="1985321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椭圆 15"/>
            <p:cNvSpPr>
              <a:spLocks noChangeAspect="1"/>
            </p:cNvSpPr>
            <p:nvPr/>
          </p:nvSpPr>
          <p:spPr>
            <a:xfrm>
              <a:off x="2253739" y="1550864"/>
              <a:ext cx="576000" cy="576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椭圆 16"/>
            <p:cNvSpPr>
              <a:spLocks noChangeAspect="1"/>
            </p:cNvSpPr>
            <p:nvPr/>
          </p:nvSpPr>
          <p:spPr>
            <a:xfrm>
              <a:off x="3379361" y="2780910"/>
              <a:ext cx="288000" cy="288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椭圆 17"/>
            <p:cNvSpPr>
              <a:spLocks noChangeAspect="1"/>
            </p:cNvSpPr>
            <p:nvPr/>
          </p:nvSpPr>
          <p:spPr>
            <a:xfrm>
              <a:off x="4512681" y="2699148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椭圆 18"/>
            <p:cNvSpPr>
              <a:spLocks noChangeAspect="1"/>
            </p:cNvSpPr>
            <p:nvPr/>
          </p:nvSpPr>
          <p:spPr>
            <a:xfrm>
              <a:off x="3012542" y="2126864"/>
              <a:ext cx="288000" cy="288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椭圆 19"/>
            <p:cNvSpPr>
              <a:spLocks noChangeAspect="1"/>
            </p:cNvSpPr>
            <p:nvPr/>
          </p:nvSpPr>
          <p:spPr>
            <a:xfrm>
              <a:off x="1996735" y="2576819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椭圆 20"/>
            <p:cNvSpPr>
              <a:spLocks noChangeAspect="1"/>
            </p:cNvSpPr>
            <p:nvPr/>
          </p:nvSpPr>
          <p:spPr>
            <a:xfrm>
              <a:off x="1828224" y="3455424"/>
              <a:ext cx="288000" cy="288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/>
            <p:cNvSpPr>
              <a:spLocks noChangeAspect="1"/>
            </p:cNvSpPr>
            <p:nvPr/>
          </p:nvSpPr>
          <p:spPr>
            <a:xfrm>
              <a:off x="2588233" y="4077918"/>
              <a:ext cx="288000" cy="288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椭圆 22"/>
            <p:cNvSpPr>
              <a:spLocks noChangeAspect="1"/>
            </p:cNvSpPr>
            <p:nvPr/>
          </p:nvSpPr>
          <p:spPr>
            <a:xfrm>
              <a:off x="3516909" y="3743424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椭圆 23"/>
            <p:cNvSpPr>
              <a:spLocks noChangeAspect="1"/>
            </p:cNvSpPr>
            <p:nvPr/>
          </p:nvSpPr>
          <p:spPr>
            <a:xfrm>
              <a:off x="3954758" y="4550164"/>
              <a:ext cx="288000" cy="288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5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6" name="矩形 25"/>
          <p:cNvSpPr/>
          <p:nvPr/>
        </p:nvSpPr>
        <p:spPr>
          <a:xfrm>
            <a:off x="4427220" y="1148080"/>
            <a:ext cx="4549775" cy="3322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艺术，不在于传授的技能技巧，而在激励、唤醒内心深处对于创造的兴趣与欲望。没有兴奋的情绪怎么激励人，没有主动性怎么能唤醒沉睡的人。我们的教育对象是处在儿童期的幼儿，在引导手工制作活动中，运用的方法和手段更应是生动活泼、丰富多彩。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9" b="15001"/>
          <a:stretch>
            <a:fillRect/>
          </a:stretch>
        </p:blipFill>
        <p:spPr>
          <a:xfrm>
            <a:off x="0" y="0"/>
            <a:ext cx="9139939" cy="514350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>
            <a:off x="4355977" y="0"/>
            <a:ext cx="2664296" cy="1491630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3131840" y="2063918"/>
            <a:ext cx="326243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Thankyou</a:t>
            </a:r>
            <a:endParaRPr lang="zh-CN" altLang="en-US" sz="60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1845221" y="1347614"/>
            <a:ext cx="5616624" cy="468052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167226" y="1406649"/>
            <a:ext cx="2879491" cy="369332"/>
            <a:chOff x="2167226" y="1730685"/>
            <a:chExt cx="2879491" cy="369332"/>
          </a:xfrm>
        </p:grpSpPr>
        <p:sp>
          <p:nvSpPr>
            <p:cNvPr id="4" name="TextBox 4"/>
            <p:cNvSpPr txBox="1"/>
            <p:nvPr/>
          </p:nvSpPr>
          <p:spPr>
            <a:xfrm>
              <a:off x="2595617" y="1730685"/>
              <a:ext cx="2451100" cy="3371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倾听改变</a:t>
              </a:r>
              <a:r>
                <a:rPr lang="en-US" altLang="zh-CN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——</a:t>
              </a:r>
              <a:r>
                <a:rPr lang="zh-CN" altLang="en-US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缘由、重构</a:t>
              </a:r>
              <a:endParaRPr lang="zh-CN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椭圆 4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" name="圆角矩形 6"/>
          <p:cNvSpPr/>
          <p:nvPr/>
        </p:nvSpPr>
        <p:spPr>
          <a:xfrm>
            <a:off x="1845221" y="2044663"/>
            <a:ext cx="5616624" cy="46805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167226" y="2103698"/>
            <a:ext cx="2879491" cy="369332"/>
            <a:chOff x="2167226" y="1730685"/>
            <a:chExt cx="2879491" cy="369332"/>
          </a:xfrm>
        </p:grpSpPr>
        <p:sp>
          <p:nvSpPr>
            <p:cNvPr id="9" name="TextBox 4"/>
            <p:cNvSpPr txBox="1"/>
            <p:nvPr/>
          </p:nvSpPr>
          <p:spPr>
            <a:xfrm>
              <a:off x="2595617" y="1730685"/>
              <a:ext cx="2451100" cy="3371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回归现场</a:t>
              </a:r>
              <a:r>
                <a:rPr lang="en-US" altLang="zh-CN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——</a:t>
              </a:r>
              <a:r>
                <a:rPr lang="zh-CN" altLang="en-US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发现、交流</a:t>
              </a:r>
              <a:endParaRPr lang="zh-CN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1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圆角矩形 11"/>
          <p:cNvSpPr/>
          <p:nvPr/>
        </p:nvSpPr>
        <p:spPr>
          <a:xfrm>
            <a:off x="1845221" y="2735806"/>
            <a:ext cx="5616624" cy="468052"/>
          </a:xfrm>
          <a:prstGeom prst="roundRect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2167226" y="2794841"/>
            <a:ext cx="2879491" cy="369332"/>
            <a:chOff x="2167226" y="1730685"/>
            <a:chExt cx="2879491" cy="369332"/>
          </a:xfrm>
        </p:grpSpPr>
        <p:sp>
          <p:nvSpPr>
            <p:cNvPr id="14" name="TextBox 4"/>
            <p:cNvSpPr txBox="1"/>
            <p:nvPr/>
          </p:nvSpPr>
          <p:spPr>
            <a:xfrm>
              <a:off x="2595617" y="1730685"/>
              <a:ext cx="2451100" cy="3371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互动分享</a:t>
              </a:r>
              <a:r>
                <a:rPr lang="en-US" altLang="zh-CN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——</a:t>
              </a:r>
              <a:r>
                <a:rPr lang="zh-CN" altLang="en-US" sz="16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学习、梳理</a:t>
              </a:r>
              <a:endParaRPr lang="zh-CN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椭圆 14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bg2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Text Placeholder 8"/>
          <p:cNvSpPr txBox="1"/>
          <p:nvPr/>
        </p:nvSpPr>
        <p:spPr>
          <a:xfrm>
            <a:off x="4961885" y="51057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流程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图片 2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437" y="2410959"/>
            <a:ext cx="2808312" cy="2808312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7601">
            <a:off x="6457926" y="3645216"/>
            <a:ext cx="2481838" cy="248183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7" grpId="0" animBg="1"/>
      <p:bldP spid="7" grpId="1" animBg="1"/>
      <p:bldP spid="12" grpId="0" animBg="1"/>
      <p:bldP spid="12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2738856" y="1928026"/>
            <a:ext cx="434594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1</a:t>
            </a:r>
            <a:r>
              <a:rPr lang="zh-CN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倾听改变</a:t>
            </a:r>
            <a:r>
              <a:rPr lang="en-US" altLang="zh-CN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—</a:t>
            </a:r>
            <a:r>
              <a:rPr lang="zh-CN" altLang="en-US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缘由、重构</a:t>
            </a:r>
            <a:endParaRPr lang="zh-CN" altLang="en-US" sz="240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 txBox="1"/>
          <p:nvPr/>
        </p:nvSpPr>
        <p:spPr>
          <a:xfrm>
            <a:off x="6673215" y="646430"/>
            <a:ext cx="1783715" cy="36258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15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织老师活动反思</a:t>
            </a:r>
            <a:endParaRPr lang="zh-CN" altLang="en-US" sz="15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그룹 7"/>
          <p:cNvGrpSpPr/>
          <p:nvPr/>
        </p:nvGrpSpPr>
        <p:grpSpPr>
          <a:xfrm>
            <a:off x="1934563" y="3181753"/>
            <a:ext cx="5648056" cy="1046181"/>
            <a:chOff x="-3854384" y="2708920"/>
            <a:chExt cx="6986224" cy="1294048"/>
          </a:xfrm>
        </p:grpSpPr>
        <p:sp>
          <p:nvSpPr>
            <p:cNvPr id="75" name="한쪽 모서리가 잘린 사각형 8"/>
            <p:cNvSpPr/>
            <p:nvPr/>
          </p:nvSpPr>
          <p:spPr>
            <a:xfrm>
              <a:off x="-3854384" y="2708920"/>
              <a:ext cx="6986224" cy="1294048"/>
            </a:xfrm>
            <a:prstGeom prst="snip1Rect">
              <a:avLst>
                <a:gd name="adj" fmla="val 12326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6" name="직각 삼각형 9"/>
            <p:cNvSpPr/>
            <p:nvPr/>
          </p:nvSpPr>
          <p:spPr>
            <a:xfrm>
              <a:off x="2987824" y="2708920"/>
              <a:ext cx="144016" cy="144016"/>
            </a:xfrm>
            <a:prstGeom prst="rtTriangl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77" name="그룹 10"/>
          <p:cNvGrpSpPr/>
          <p:nvPr/>
        </p:nvGrpSpPr>
        <p:grpSpPr>
          <a:xfrm>
            <a:off x="1934563" y="1378447"/>
            <a:ext cx="5648056" cy="1046181"/>
            <a:chOff x="-3854384" y="2708920"/>
            <a:chExt cx="6986224" cy="1294048"/>
          </a:xfrm>
        </p:grpSpPr>
        <p:sp>
          <p:nvSpPr>
            <p:cNvPr id="78" name="한쪽 모서리가 잘린 사각형 11"/>
            <p:cNvSpPr/>
            <p:nvPr/>
          </p:nvSpPr>
          <p:spPr>
            <a:xfrm>
              <a:off x="-3854384" y="2708920"/>
              <a:ext cx="6986224" cy="1294048"/>
            </a:xfrm>
            <a:prstGeom prst="snip1Rect">
              <a:avLst>
                <a:gd name="adj" fmla="val 12326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" name="직각 삼각형 12"/>
            <p:cNvSpPr/>
            <p:nvPr/>
          </p:nvSpPr>
          <p:spPr>
            <a:xfrm>
              <a:off x="2987824" y="2708920"/>
              <a:ext cx="144016" cy="14401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88" name="그룹 21"/>
          <p:cNvGrpSpPr/>
          <p:nvPr/>
        </p:nvGrpSpPr>
        <p:grpSpPr>
          <a:xfrm>
            <a:off x="1561381" y="1528356"/>
            <a:ext cx="746364" cy="746363"/>
            <a:chOff x="848089" y="2524252"/>
            <a:chExt cx="923196" cy="923196"/>
          </a:xfrm>
        </p:grpSpPr>
        <p:sp>
          <p:nvSpPr>
            <p:cNvPr id="89" name="타원 22"/>
            <p:cNvSpPr/>
            <p:nvPr/>
          </p:nvSpPr>
          <p:spPr>
            <a:xfrm>
              <a:off x="848089" y="2524252"/>
              <a:ext cx="923196" cy="9231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90" name="Freeform 7"/>
            <p:cNvSpPr>
              <a:spLocks noEditPoints="1"/>
            </p:cNvSpPr>
            <p:nvPr/>
          </p:nvSpPr>
          <p:spPr bwMode="auto">
            <a:xfrm>
              <a:off x="1047749" y="2723239"/>
              <a:ext cx="523876" cy="525222"/>
            </a:xfrm>
            <a:custGeom>
              <a:avLst/>
              <a:gdLst>
                <a:gd name="T0" fmla="*/ 634 w 1166"/>
                <a:gd name="T1" fmla="*/ 983 h 1168"/>
                <a:gd name="T2" fmla="*/ 855 w 1166"/>
                <a:gd name="T3" fmla="*/ 885 h 1168"/>
                <a:gd name="T4" fmla="*/ 878 w 1166"/>
                <a:gd name="T5" fmla="*/ 852 h 1168"/>
                <a:gd name="T6" fmla="*/ 1163 w 1166"/>
                <a:gd name="T7" fmla="*/ 908 h 1168"/>
                <a:gd name="T8" fmla="*/ 937 w 1166"/>
                <a:gd name="T9" fmla="*/ 931 h 1168"/>
                <a:gd name="T10" fmla="*/ 921 w 1166"/>
                <a:gd name="T11" fmla="*/ 1044 h 1168"/>
                <a:gd name="T12" fmla="*/ 709 w 1166"/>
                <a:gd name="T13" fmla="*/ 1138 h 1168"/>
                <a:gd name="T14" fmla="*/ 673 w 1166"/>
                <a:gd name="T15" fmla="*/ 1168 h 1168"/>
                <a:gd name="T16" fmla="*/ 410 w 1166"/>
                <a:gd name="T17" fmla="*/ 1096 h 1168"/>
                <a:gd name="T18" fmla="*/ 209 w 1166"/>
                <a:gd name="T19" fmla="*/ 730 h 1168"/>
                <a:gd name="T20" fmla="*/ 249 w 1166"/>
                <a:gd name="T21" fmla="*/ 708 h 1168"/>
                <a:gd name="T22" fmla="*/ 257 w 1166"/>
                <a:gd name="T23" fmla="*/ 575 h 1168"/>
                <a:gd name="T24" fmla="*/ 53 w 1166"/>
                <a:gd name="T25" fmla="*/ 540 h 1168"/>
                <a:gd name="T26" fmla="*/ 10 w 1166"/>
                <a:gd name="T27" fmla="*/ 568 h 1168"/>
                <a:gd name="T28" fmla="*/ 10 w 1166"/>
                <a:gd name="T29" fmla="*/ 700 h 1168"/>
                <a:gd name="T30" fmla="*/ 223 w 1166"/>
                <a:gd name="T31" fmla="*/ 953 h 1168"/>
                <a:gd name="T32" fmla="*/ 333 w 1166"/>
                <a:gd name="T33" fmla="*/ 797 h 1168"/>
                <a:gd name="T34" fmla="*/ 489 w 1166"/>
                <a:gd name="T35" fmla="*/ 731 h 1168"/>
                <a:gd name="T36" fmla="*/ 420 w 1166"/>
                <a:gd name="T37" fmla="*/ 898 h 1168"/>
                <a:gd name="T38" fmla="*/ 298 w 1166"/>
                <a:gd name="T39" fmla="*/ 1036 h 1168"/>
                <a:gd name="T40" fmla="*/ 228 w 1166"/>
                <a:gd name="T41" fmla="*/ 1031 h 1168"/>
                <a:gd name="T42" fmla="*/ 215 w 1166"/>
                <a:gd name="T43" fmla="*/ 963 h 1168"/>
                <a:gd name="T44" fmla="*/ 566 w 1166"/>
                <a:gd name="T45" fmla="*/ 11 h 1168"/>
                <a:gd name="T46" fmla="*/ 606 w 1166"/>
                <a:gd name="T47" fmla="*/ 58 h 1168"/>
                <a:gd name="T48" fmla="*/ 610 w 1166"/>
                <a:gd name="T49" fmla="*/ 113 h 1168"/>
                <a:gd name="T50" fmla="*/ 576 w 1166"/>
                <a:gd name="T51" fmla="*/ 176 h 1168"/>
                <a:gd name="T52" fmla="*/ 517 w 1166"/>
                <a:gd name="T53" fmla="*/ 208 h 1168"/>
                <a:gd name="T54" fmla="*/ 467 w 1166"/>
                <a:gd name="T55" fmla="*/ 189 h 1168"/>
                <a:gd name="T56" fmla="*/ 435 w 1166"/>
                <a:gd name="T57" fmla="*/ 127 h 1168"/>
                <a:gd name="T58" fmla="*/ 438 w 1166"/>
                <a:gd name="T59" fmla="*/ 66 h 1168"/>
                <a:gd name="T60" fmla="*/ 474 w 1166"/>
                <a:gd name="T61" fmla="*/ 16 h 1168"/>
                <a:gd name="T62" fmla="*/ 532 w 1166"/>
                <a:gd name="T63" fmla="*/ 1 h 1168"/>
                <a:gd name="T64" fmla="*/ 564 w 1166"/>
                <a:gd name="T65" fmla="*/ 268 h 1168"/>
                <a:gd name="T66" fmla="*/ 684 w 1166"/>
                <a:gd name="T67" fmla="*/ 378 h 1168"/>
                <a:gd name="T68" fmla="*/ 822 w 1166"/>
                <a:gd name="T69" fmla="*/ 391 h 1168"/>
                <a:gd name="T70" fmla="*/ 861 w 1166"/>
                <a:gd name="T71" fmla="*/ 417 h 1168"/>
                <a:gd name="T72" fmla="*/ 851 w 1166"/>
                <a:gd name="T73" fmla="*/ 471 h 1168"/>
                <a:gd name="T74" fmla="*/ 725 w 1166"/>
                <a:gd name="T75" fmla="*/ 489 h 1168"/>
                <a:gd name="T76" fmla="*/ 633 w 1166"/>
                <a:gd name="T77" fmla="*/ 467 h 1168"/>
                <a:gd name="T78" fmla="*/ 547 w 1166"/>
                <a:gd name="T79" fmla="*/ 559 h 1168"/>
                <a:gd name="T80" fmla="*/ 683 w 1166"/>
                <a:gd name="T81" fmla="*/ 630 h 1168"/>
                <a:gd name="T82" fmla="*/ 768 w 1166"/>
                <a:gd name="T83" fmla="*/ 746 h 1168"/>
                <a:gd name="T84" fmla="*/ 805 w 1166"/>
                <a:gd name="T85" fmla="*/ 877 h 1168"/>
                <a:gd name="T86" fmla="*/ 753 w 1166"/>
                <a:gd name="T87" fmla="*/ 919 h 1168"/>
                <a:gd name="T88" fmla="*/ 700 w 1166"/>
                <a:gd name="T89" fmla="*/ 890 h 1168"/>
                <a:gd name="T90" fmla="*/ 587 w 1166"/>
                <a:gd name="T91" fmla="*/ 728 h 1168"/>
                <a:gd name="T92" fmla="*/ 331 w 1166"/>
                <a:gd name="T93" fmla="*/ 633 h 1168"/>
                <a:gd name="T94" fmla="*/ 291 w 1166"/>
                <a:gd name="T95" fmla="*/ 579 h 1168"/>
                <a:gd name="T96" fmla="*/ 266 w 1166"/>
                <a:gd name="T97" fmla="*/ 358 h 1168"/>
                <a:gd name="T98" fmla="*/ 234 w 1166"/>
                <a:gd name="T99" fmla="*/ 414 h 1168"/>
                <a:gd name="T100" fmla="*/ 205 w 1166"/>
                <a:gd name="T101" fmla="*/ 510 h 1168"/>
                <a:gd name="T102" fmla="*/ 150 w 1166"/>
                <a:gd name="T103" fmla="*/ 508 h 1168"/>
                <a:gd name="T104" fmla="*/ 136 w 1166"/>
                <a:gd name="T105" fmla="*/ 437 h 1168"/>
                <a:gd name="T106" fmla="*/ 184 w 1166"/>
                <a:gd name="T107" fmla="*/ 298 h 1168"/>
                <a:gd name="T108" fmla="*/ 353 w 1166"/>
                <a:gd name="T109" fmla="*/ 213 h 1168"/>
                <a:gd name="T110" fmla="*/ 447 w 1166"/>
                <a:gd name="T111" fmla="*/ 22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66" h="1168">
                  <a:moveTo>
                    <a:pt x="436" y="1086"/>
                  </a:moveTo>
                  <a:lnTo>
                    <a:pt x="627" y="1086"/>
                  </a:lnTo>
                  <a:lnTo>
                    <a:pt x="627" y="1004"/>
                  </a:lnTo>
                  <a:lnTo>
                    <a:pt x="627" y="1004"/>
                  </a:lnTo>
                  <a:lnTo>
                    <a:pt x="628" y="997"/>
                  </a:lnTo>
                  <a:lnTo>
                    <a:pt x="630" y="990"/>
                  </a:lnTo>
                  <a:lnTo>
                    <a:pt x="634" y="983"/>
                  </a:lnTo>
                  <a:lnTo>
                    <a:pt x="638" y="978"/>
                  </a:lnTo>
                  <a:lnTo>
                    <a:pt x="643" y="973"/>
                  </a:lnTo>
                  <a:lnTo>
                    <a:pt x="650" y="971"/>
                  </a:lnTo>
                  <a:lnTo>
                    <a:pt x="657" y="968"/>
                  </a:lnTo>
                  <a:lnTo>
                    <a:pt x="664" y="967"/>
                  </a:lnTo>
                  <a:lnTo>
                    <a:pt x="855" y="967"/>
                  </a:lnTo>
                  <a:lnTo>
                    <a:pt x="855" y="885"/>
                  </a:lnTo>
                  <a:lnTo>
                    <a:pt x="855" y="885"/>
                  </a:lnTo>
                  <a:lnTo>
                    <a:pt x="856" y="878"/>
                  </a:lnTo>
                  <a:lnTo>
                    <a:pt x="859" y="872"/>
                  </a:lnTo>
                  <a:lnTo>
                    <a:pt x="862" y="865"/>
                  </a:lnTo>
                  <a:lnTo>
                    <a:pt x="867" y="859"/>
                  </a:lnTo>
                  <a:lnTo>
                    <a:pt x="871" y="854"/>
                  </a:lnTo>
                  <a:lnTo>
                    <a:pt x="878" y="852"/>
                  </a:lnTo>
                  <a:lnTo>
                    <a:pt x="885" y="850"/>
                  </a:lnTo>
                  <a:lnTo>
                    <a:pt x="892" y="849"/>
                  </a:lnTo>
                  <a:lnTo>
                    <a:pt x="1166" y="849"/>
                  </a:lnTo>
                  <a:lnTo>
                    <a:pt x="1166" y="894"/>
                  </a:lnTo>
                  <a:lnTo>
                    <a:pt x="1166" y="894"/>
                  </a:lnTo>
                  <a:lnTo>
                    <a:pt x="1165" y="901"/>
                  </a:lnTo>
                  <a:lnTo>
                    <a:pt x="1163" y="908"/>
                  </a:lnTo>
                  <a:lnTo>
                    <a:pt x="1160" y="915"/>
                  </a:lnTo>
                  <a:lnTo>
                    <a:pt x="1155" y="921"/>
                  </a:lnTo>
                  <a:lnTo>
                    <a:pt x="1150" y="925"/>
                  </a:lnTo>
                  <a:lnTo>
                    <a:pt x="1144" y="927"/>
                  </a:lnTo>
                  <a:lnTo>
                    <a:pt x="1136" y="930"/>
                  </a:lnTo>
                  <a:lnTo>
                    <a:pt x="1129" y="931"/>
                  </a:lnTo>
                  <a:lnTo>
                    <a:pt x="937" y="931"/>
                  </a:lnTo>
                  <a:lnTo>
                    <a:pt x="937" y="1013"/>
                  </a:lnTo>
                  <a:lnTo>
                    <a:pt x="937" y="1013"/>
                  </a:lnTo>
                  <a:lnTo>
                    <a:pt x="937" y="1020"/>
                  </a:lnTo>
                  <a:lnTo>
                    <a:pt x="935" y="1027"/>
                  </a:lnTo>
                  <a:lnTo>
                    <a:pt x="932" y="1034"/>
                  </a:lnTo>
                  <a:lnTo>
                    <a:pt x="927" y="1039"/>
                  </a:lnTo>
                  <a:lnTo>
                    <a:pt x="921" y="1044"/>
                  </a:lnTo>
                  <a:lnTo>
                    <a:pt x="916" y="1046"/>
                  </a:lnTo>
                  <a:lnTo>
                    <a:pt x="909" y="1048"/>
                  </a:lnTo>
                  <a:lnTo>
                    <a:pt x="901" y="1049"/>
                  </a:lnTo>
                  <a:lnTo>
                    <a:pt x="709" y="1049"/>
                  </a:lnTo>
                  <a:lnTo>
                    <a:pt x="709" y="1132"/>
                  </a:lnTo>
                  <a:lnTo>
                    <a:pt x="709" y="1132"/>
                  </a:lnTo>
                  <a:lnTo>
                    <a:pt x="709" y="1138"/>
                  </a:lnTo>
                  <a:lnTo>
                    <a:pt x="707" y="1145"/>
                  </a:lnTo>
                  <a:lnTo>
                    <a:pt x="703" y="1152"/>
                  </a:lnTo>
                  <a:lnTo>
                    <a:pt x="699" y="1158"/>
                  </a:lnTo>
                  <a:lnTo>
                    <a:pt x="693" y="1162"/>
                  </a:lnTo>
                  <a:lnTo>
                    <a:pt x="687" y="1165"/>
                  </a:lnTo>
                  <a:lnTo>
                    <a:pt x="681" y="1167"/>
                  </a:lnTo>
                  <a:lnTo>
                    <a:pt x="673" y="1168"/>
                  </a:lnTo>
                  <a:lnTo>
                    <a:pt x="399" y="1168"/>
                  </a:lnTo>
                  <a:lnTo>
                    <a:pt x="399" y="1123"/>
                  </a:lnTo>
                  <a:lnTo>
                    <a:pt x="399" y="1123"/>
                  </a:lnTo>
                  <a:lnTo>
                    <a:pt x="400" y="1116"/>
                  </a:lnTo>
                  <a:lnTo>
                    <a:pt x="402" y="1109"/>
                  </a:lnTo>
                  <a:lnTo>
                    <a:pt x="406" y="1102"/>
                  </a:lnTo>
                  <a:lnTo>
                    <a:pt x="410" y="1096"/>
                  </a:lnTo>
                  <a:lnTo>
                    <a:pt x="416" y="1092"/>
                  </a:lnTo>
                  <a:lnTo>
                    <a:pt x="422" y="1089"/>
                  </a:lnTo>
                  <a:lnTo>
                    <a:pt x="428" y="1087"/>
                  </a:lnTo>
                  <a:lnTo>
                    <a:pt x="436" y="1086"/>
                  </a:lnTo>
                  <a:lnTo>
                    <a:pt x="436" y="1086"/>
                  </a:lnTo>
                  <a:close/>
                  <a:moveTo>
                    <a:pt x="37" y="715"/>
                  </a:moveTo>
                  <a:lnTo>
                    <a:pt x="209" y="730"/>
                  </a:lnTo>
                  <a:lnTo>
                    <a:pt x="209" y="730"/>
                  </a:lnTo>
                  <a:lnTo>
                    <a:pt x="218" y="730"/>
                  </a:lnTo>
                  <a:lnTo>
                    <a:pt x="226" y="728"/>
                  </a:lnTo>
                  <a:lnTo>
                    <a:pt x="233" y="724"/>
                  </a:lnTo>
                  <a:lnTo>
                    <a:pt x="240" y="721"/>
                  </a:lnTo>
                  <a:lnTo>
                    <a:pt x="246" y="715"/>
                  </a:lnTo>
                  <a:lnTo>
                    <a:pt x="249" y="708"/>
                  </a:lnTo>
                  <a:lnTo>
                    <a:pt x="253" y="700"/>
                  </a:lnTo>
                  <a:lnTo>
                    <a:pt x="254" y="692"/>
                  </a:lnTo>
                  <a:lnTo>
                    <a:pt x="263" y="599"/>
                  </a:lnTo>
                  <a:lnTo>
                    <a:pt x="263" y="599"/>
                  </a:lnTo>
                  <a:lnTo>
                    <a:pt x="262" y="590"/>
                  </a:lnTo>
                  <a:lnTo>
                    <a:pt x="261" y="582"/>
                  </a:lnTo>
                  <a:lnTo>
                    <a:pt x="257" y="575"/>
                  </a:lnTo>
                  <a:lnTo>
                    <a:pt x="253" y="568"/>
                  </a:lnTo>
                  <a:lnTo>
                    <a:pt x="247" y="562"/>
                  </a:lnTo>
                  <a:lnTo>
                    <a:pt x="240" y="559"/>
                  </a:lnTo>
                  <a:lnTo>
                    <a:pt x="233" y="555"/>
                  </a:lnTo>
                  <a:lnTo>
                    <a:pt x="225" y="554"/>
                  </a:lnTo>
                  <a:lnTo>
                    <a:pt x="53" y="540"/>
                  </a:lnTo>
                  <a:lnTo>
                    <a:pt x="53" y="540"/>
                  </a:lnTo>
                  <a:lnTo>
                    <a:pt x="44" y="540"/>
                  </a:lnTo>
                  <a:lnTo>
                    <a:pt x="36" y="541"/>
                  </a:lnTo>
                  <a:lnTo>
                    <a:pt x="29" y="544"/>
                  </a:lnTo>
                  <a:lnTo>
                    <a:pt x="22" y="549"/>
                  </a:lnTo>
                  <a:lnTo>
                    <a:pt x="16" y="554"/>
                  </a:lnTo>
                  <a:lnTo>
                    <a:pt x="13" y="561"/>
                  </a:lnTo>
                  <a:lnTo>
                    <a:pt x="10" y="568"/>
                  </a:lnTo>
                  <a:lnTo>
                    <a:pt x="8" y="576"/>
                  </a:lnTo>
                  <a:lnTo>
                    <a:pt x="0" y="671"/>
                  </a:lnTo>
                  <a:lnTo>
                    <a:pt x="0" y="671"/>
                  </a:lnTo>
                  <a:lnTo>
                    <a:pt x="0" y="679"/>
                  </a:lnTo>
                  <a:lnTo>
                    <a:pt x="2" y="687"/>
                  </a:lnTo>
                  <a:lnTo>
                    <a:pt x="5" y="694"/>
                  </a:lnTo>
                  <a:lnTo>
                    <a:pt x="10" y="700"/>
                  </a:lnTo>
                  <a:lnTo>
                    <a:pt x="15" y="706"/>
                  </a:lnTo>
                  <a:lnTo>
                    <a:pt x="22" y="711"/>
                  </a:lnTo>
                  <a:lnTo>
                    <a:pt x="29" y="714"/>
                  </a:lnTo>
                  <a:lnTo>
                    <a:pt x="37" y="715"/>
                  </a:lnTo>
                  <a:lnTo>
                    <a:pt x="37" y="715"/>
                  </a:lnTo>
                  <a:close/>
                  <a:moveTo>
                    <a:pt x="223" y="953"/>
                  </a:moveTo>
                  <a:lnTo>
                    <a:pt x="223" y="953"/>
                  </a:lnTo>
                  <a:lnTo>
                    <a:pt x="278" y="889"/>
                  </a:lnTo>
                  <a:lnTo>
                    <a:pt x="297" y="862"/>
                  </a:lnTo>
                  <a:lnTo>
                    <a:pt x="306" y="851"/>
                  </a:lnTo>
                  <a:lnTo>
                    <a:pt x="313" y="838"/>
                  </a:lnTo>
                  <a:lnTo>
                    <a:pt x="320" y="826"/>
                  </a:lnTo>
                  <a:lnTo>
                    <a:pt x="327" y="812"/>
                  </a:lnTo>
                  <a:lnTo>
                    <a:pt x="333" y="797"/>
                  </a:lnTo>
                  <a:lnTo>
                    <a:pt x="338" y="780"/>
                  </a:lnTo>
                  <a:lnTo>
                    <a:pt x="350" y="741"/>
                  </a:lnTo>
                  <a:lnTo>
                    <a:pt x="362" y="691"/>
                  </a:lnTo>
                  <a:lnTo>
                    <a:pt x="362" y="691"/>
                  </a:lnTo>
                  <a:lnTo>
                    <a:pt x="476" y="728"/>
                  </a:lnTo>
                  <a:lnTo>
                    <a:pt x="476" y="728"/>
                  </a:lnTo>
                  <a:lnTo>
                    <a:pt x="489" y="731"/>
                  </a:lnTo>
                  <a:lnTo>
                    <a:pt x="489" y="731"/>
                  </a:lnTo>
                  <a:lnTo>
                    <a:pt x="469" y="788"/>
                  </a:lnTo>
                  <a:lnTo>
                    <a:pt x="454" y="832"/>
                  </a:lnTo>
                  <a:lnTo>
                    <a:pt x="446" y="851"/>
                  </a:lnTo>
                  <a:lnTo>
                    <a:pt x="438" y="868"/>
                  </a:lnTo>
                  <a:lnTo>
                    <a:pt x="428" y="883"/>
                  </a:lnTo>
                  <a:lnTo>
                    <a:pt x="420" y="898"/>
                  </a:lnTo>
                  <a:lnTo>
                    <a:pt x="411" y="911"/>
                  </a:lnTo>
                  <a:lnTo>
                    <a:pt x="401" y="925"/>
                  </a:lnTo>
                  <a:lnTo>
                    <a:pt x="376" y="954"/>
                  </a:lnTo>
                  <a:lnTo>
                    <a:pt x="346" y="987"/>
                  </a:lnTo>
                  <a:lnTo>
                    <a:pt x="307" y="1028"/>
                  </a:lnTo>
                  <a:lnTo>
                    <a:pt x="307" y="1028"/>
                  </a:lnTo>
                  <a:lnTo>
                    <a:pt x="298" y="1036"/>
                  </a:lnTo>
                  <a:lnTo>
                    <a:pt x="287" y="1043"/>
                  </a:lnTo>
                  <a:lnTo>
                    <a:pt x="277" y="1046"/>
                  </a:lnTo>
                  <a:lnTo>
                    <a:pt x="266" y="1046"/>
                  </a:lnTo>
                  <a:lnTo>
                    <a:pt x="255" y="1046"/>
                  </a:lnTo>
                  <a:lnTo>
                    <a:pt x="245" y="1043"/>
                  </a:lnTo>
                  <a:lnTo>
                    <a:pt x="236" y="1038"/>
                  </a:lnTo>
                  <a:lnTo>
                    <a:pt x="228" y="1031"/>
                  </a:lnTo>
                  <a:lnTo>
                    <a:pt x="220" y="1024"/>
                  </a:lnTo>
                  <a:lnTo>
                    <a:pt x="214" y="1015"/>
                  </a:lnTo>
                  <a:lnTo>
                    <a:pt x="210" y="1006"/>
                  </a:lnTo>
                  <a:lnTo>
                    <a:pt x="208" y="996"/>
                  </a:lnTo>
                  <a:lnTo>
                    <a:pt x="208" y="986"/>
                  </a:lnTo>
                  <a:lnTo>
                    <a:pt x="210" y="974"/>
                  </a:lnTo>
                  <a:lnTo>
                    <a:pt x="215" y="963"/>
                  </a:lnTo>
                  <a:lnTo>
                    <a:pt x="223" y="953"/>
                  </a:lnTo>
                  <a:lnTo>
                    <a:pt x="223" y="953"/>
                  </a:lnTo>
                  <a:close/>
                  <a:moveTo>
                    <a:pt x="541" y="2"/>
                  </a:moveTo>
                  <a:lnTo>
                    <a:pt x="541" y="2"/>
                  </a:lnTo>
                  <a:lnTo>
                    <a:pt x="551" y="4"/>
                  </a:lnTo>
                  <a:lnTo>
                    <a:pt x="559" y="8"/>
                  </a:lnTo>
                  <a:lnTo>
                    <a:pt x="566" y="11"/>
                  </a:lnTo>
                  <a:lnTo>
                    <a:pt x="574" y="17"/>
                  </a:lnTo>
                  <a:lnTo>
                    <a:pt x="581" y="22"/>
                  </a:lnTo>
                  <a:lnTo>
                    <a:pt x="587" y="28"/>
                  </a:lnTo>
                  <a:lnTo>
                    <a:pt x="593" y="35"/>
                  </a:lnTo>
                  <a:lnTo>
                    <a:pt x="598" y="42"/>
                  </a:lnTo>
                  <a:lnTo>
                    <a:pt x="602" y="50"/>
                  </a:lnTo>
                  <a:lnTo>
                    <a:pt x="606" y="58"/>
                  </a:lnTo>
                  <a:lnTo>
                    <a:pt x="609" y="66"/>
                  </a:lnTo>
                  <a:lnTo>
                    <a:pt x="611" y="75"/>
                  </a:lnTo>
                  <a:lnTo>
                    <a:pt x="612" y="84"/>
                  </a:lnTo>
                  <a:lnTo>
                    <a:pt x="612" y="93"/>
                  </a:lnTo>
                  <a:lnTo>
                    <a:pt x="611" y="104"/>
                  </a:lnTo>
                  <a:lnTo>
                    <a:pt x="610" y="113"/>
                  </a:lnTo>
                  <a:lnTo>
                    <a:pt x="610" y="113"/>
                  </a:lnTo>
                  <a:lnTo>
                    <a:pt x="608" y="122"/>
                  </a:lnTo>
                  <a:lnTo>
                    <a:pt x="604" y="132"/>
                  </a:lnTo>
                  <a:lnTo>
                    <a:pt x="600" y="141"/>
                  </a:lnTo>
                  <a:lnTo>
                    <a:pt x="595" y="150"/>
                  </a:lnTo>
                  <a:lnTo>
                    <a:pt x="589" y="158"/>
                  </a:lnTo>
                  <a:lnTo>
                    <a:pt x="582" y="168"/>
                  </a:lnTo>
                  <a:lnTo>
                    <a:pt x="576" y="176"/>
                  </a:lnTo>
                  <a:lnTo>
                    <a:pt x="569" y="182"/>
                  </a:lnTo>
                  <a:lnTo>
                    <a:pt x="561" y="189"/>
                  </a:lnTo>
                  <a:lnTo>
                    <a:pt x="553" y="195"/>
                  </a:lnTo>
                  <a:lnTo>
                    <a:pt x="544" y="200"/>
                  </a:lnTo>
                  <a:lnTo>
                    <a:pt x="535" y="203"/>
                  </a:lnTo>
                  <a:lnTo>
                    <a:pt x="527" y="206"/>
                  </a:lnTo>
                  <a:lnTo>
                    <a:pt x="517" y="208"/>
                  </a:lnTo>
                  <a:lnTo>
                    <a:pt x="508" y="208"/>
                  </a:lnTo>
                  <a:lnTo>
                    <a:pt x="499" y="206"/>
                  </a:lnTo>
                  <a:lnTo>
                    <a:pt x="499" y="206"/>
                  </a:lnTo>
                  <a:lnTo>
                    <a:pt x="490" y="204"/>
                  </a:lnTo>
                  <a:lnTo>
                    <a:pt x="482" y="200"/>
                  </a:lnTo>
                  <a:lnTo>
                    <a:pt x="474" y="195"/>
                  </a:lnTo>
                  <a:lnTo>
                    <a:pt x="467" y="189"/>
                  </a:lnTo>
                  <a:lnTo>
                    <a:pt x="460" y="181"/>
                  </a:lnTo>
                  <a:lnTo>
                    <a:pt x="455" y="174"/>
                  </a:lnTo>
                  <a:lnTo>
                    <a:pt x="449" y="165"/>
                  </a:lnTo>
                  <a:lnTo>
                    <a:pt x="444" y="156"/>
                  </a:lnTo>
                  <a:lnTo>
                    <a:pt x="441" y="147"/>
                  </a:lnTo>
                  <a:lnTo>
                    <a:pt x="438" y="137"/>
                  </a:lnTo>
                  <a:lnTo>
                    <a:pt x="435" y="127"/>
                  </a:lnTo>
                  <a:lnTo>
                    <a:pt x="433" y="116"/>
                  </a:lnTo>
                  <a:lnTo>
                    <a:pt x="433" y="106"/>
                  </a:lnTo>
                  <a:lnTo>
                    <a:pt x="433" y="96"/>
                  </a:lnTo>
                  <a:lnTo>
                    <a:pt x="433" y="8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8" y="66"/>
                  </a:lnTo>
                  <a:lnTo>
                    <a:pt x="441" y="57"/>
                  </a:lnTo>
                  <a:lnTo>
                    <a:pt x="444" y="49"/>
                  </a:lnTo>
                  <a:lnTo>
                    <a:pt x="449" y="41"/>
                  </a:lnTo>
                  <a:lnTo>
                    <a:pt x="455" y="34"/>
                  </a:lnTo>
                  <a:lnTo>
                    <a:pt x="460" y="27"/>
                  </a:lnTo>
                  <a:lnTo>
                    <a:pt x="467" y="22"/>
                  </a:lnTo>
                  <a:lnTo>
                    <a:pt x="474" y="16"/>
                  </a:lnTo>
                  <a:lnTo>
                    <a:pt x="482" y="11"/>
                  </a:lnTo>
                  <a:lnTo>
                    <a:pt x="489" y="8"/>
                  </a:lnTo>
                  <a:lnTo>
                    <a:pt x="498" y="4"/>
                  </a:lnTo>
                  <a:lnTo>
                    <a:pt x="506" y="2"/>
                  </a:lnTo>
                  <a:lnTo>
                    <a:pt x="515" y="1"/>
                  </a:lnTo>
                  <a:lnTo>
                    <a:pt x="523" y="0"/>
                  </a:lnTo>
                  <a:lnTo>
                    <a:pt x="532" y="1"/>
                  </a:lnTo>
                  <a:lnTo>
                    <a:pt x="541" y="2"/>
                  </a:lnTo>
                  <a:lnTo>
                    <a:pt x="541" y="2"/>
                  </a:lnTo>
                  <a:close/>
                  <a:moveTo>
                    <a:pt x="531" y="253"/>
                  </a:moveTo>
                  <a:lnTo>
                    <a:pt x="531" y="253"/>
                  </a:lnTo>
                  <a:lnTo>
                    <a:pt x="540" y="257"/>
                  </a:lnTo>
                  <a:lnTo>
                    <a:pt x="552" y="261"/>
                  </a:lnTo>
                  <a:lnTo>
                    <a:pt x="564" y="268"/>
                  </a:lnTo>
                  <a:lnTo>
                    <a:pt x="570" y="273"/>
                  </a:lnTo>
                  <a:lnTo>
                    <a:pt x="576" y="277"/>
                  </a:lnTo>
                  <a:lnTo>
                    <a:pt x="576" y="277"/>
                  </a:lnTo>
                  <a:lnTo>
                    <a:pt x="650" y="349"/>
                  </a:lnTo>
                  <a:lnTo>
                    <a:pt x="662" y="360"/>
                  </a:lnTo>
                  <a:lnTo>
                    <a:pt x="674" y="370"/>
                  </a:lnTo>
                  <a:lnTo>
                    <a:pt x="684" y="378"/>
                  </a:lnTo>
                  <a:lnTo>
                    <a:pt x="694" y="383"/>
                  </a:lnTo>
                  <a:lnTo>
                    <a:pt x="705" y="388"/>
                  </a:lnTo>
                  <a:lnTo>
                    <a:pt x="716" y="390"/>
                  </a:lnTo>
                  <a:lnTo>
                    <a:pt x="727" y="392"/>
                  </a:lnTo>
                  <a:lnTo>
                    <a:pt x="741" y="393"/>
                  </a:lnTo>
                  <a:lnTo>
                    <a:pt x="775" y="393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31" y="392"/>
                  </a:lnTo>
                  <a:lnTo>
                    <a:pt x="840" y="395"/>
                  </a:lnTo>
                  <a:lnTo>
                    <a:pt x="847" y="398"/>
                  </a:lnTo>
                  <a:lnTo>
                    <a:pt x="853" y="404"/>
                  </a:lnTo>
                  <a:lnTo>
                    <a:pt x="858" y="411"/>
                  </a:lnTo>
                  <a:lnTo>
                    <a:pt x="861" y="417"/>
                  </a:lnTo>
                  <a:lnTo>
                    <a:pt x="862" y="425"/>
                  </a:lnTo>
                  <a:lnTo>
                    <a:pt x="863" y="433"/>
                  </a:lnTo>
                  <a:lnTo>
                    <a:pt x="863" y="443"/>
                  </a:lnTo>
                  <a:lnTo>
                    <a:pt x="862" y="451"/>
                  </a:lnTo>
                  <a:lnTo>
                    <a:pt x="859" y="457"/>
                  </a:lnTo>
                  <a:lnTo>
                    <a:pt x="855" y="464"/>
                  </a:lnTo>
                  <a:lnTo>
                    <a:pt x="851" y="471"/>
                  </a:lnTo>
                  <a:lnTo>
                    <a:pt x="845" y="476"/>
                  </a:lnTo>
                  <a:lnTo>
                    <a:pt x="837" y="479"/>
                  </a:lnTo>
                  <a:lnTo>
                    <a:pt x="829" y="480"/>
                  </a:lnTo>
                  <a:lnTo>
                    <a:pt x="829" y="480"/>
                  </a:lnTo>
                  <a:lnTo>
                    <a:pt x="780" y="486"/>
                  </a:lnTo>
                  <a:lnTo>
                    <a:pt x="741" y="489"/>
                  </a:lnTo>
                  <a:lnTo>
                    <a:pt x="725" y="489"/>
                  </a:lnTo>
                  <a:lnTo>
                    <a:pt x="710" y="489"/>
                  </a:lnTo>
                  <a:lnTo>
                    <a:pt x="697" y="489"/>
                  </a:lnTo>
                  <a:lnTo>
                    <a:pt x="683" y="487"/>
                  </a:lnTo>
                  <a:lnTo>
                    <a:pt x="670" y="484"/>
                  </a:lnTo>
                  <a:lnTo>
                    <a:pt x="658" y="479"/>
                  </a:lnTo>
                  <a:lnTo>
                    <a:pt x="646" y="473"/>
                  </a:lnTo>
                  <a:lnTo>
                    <a:pt x="633" y="467"/>
                  </a:lnTo>
                  <a:lnTo>
                    <a:pt x="619" y="456"/>
                  </a:lnTo>
                  <a:lnTo>
                    <a:pt x="604" y="446"/>
                  </a:lnTo>
                  <a:lnTo>
                    <a:pt x="569" y="416"/>
                  </a:lnTo>
                  <a:lnTo>
                    <a:pt x="546" y="544"/>
                  </a:lnTo>
                  <a:lnTo>
                    <a:pt x="546" y="544"/>
                  </a:lnTo>
                  <a:lnTo>
                    <a:pt x="545" y="552"/>
                  </a:lnTo>
                  <a:lnTo>
                    <a:pt x="547" y="559"/>
                  </a:lnTo>
                  <a:lnTo>
                    <a:pt x="552" y="565"/>
                  </a:lnTo>
                  <a:lnTo>
                    <a:pt x="557" y="569"/>
                  </a:lnTo>
                  <a:lnTo>
                    <a:pt x="557" y="569"/>
                  </a:lnTo>
                  <a:lnTo>
                    <a:pt x="608" y="591"/>
                  </a:lnTo>
                  <a:lnTo>
                    <a:pt x="649" y="610"/>
                  </a:lnTo>
                  <a:lnTo>
                    <a:pt x="667" y="619"/>
                  </a:lnTo>
                  <a:lnTo>
                    <a:pt x="683" y="630"/>
                  </a:lnTo>
                  <a:lnTo>
                    <a:pt x="698" y="640"/>
                  </a:lnTo>
                  <a:lnTo>
                    <a:pt x="711" y="652"/>
                  </a:lnTo>
                  <a:lnTo>
                    <a:pt x="724" y="666"/>
                  </a:lnTo>
                  <a:lnTo>
                    <a:pt x="735" y="682"/>
                  </a:lnTo>
                  <a:lnTo>
                    <a:pt x="747" y="700"/>
                  </a:lnTo>
                  <a:lnTo>
                    <a:pt x="758" y="722"/>
                  </a:lnTo>
                  <a:lnTo>
                    <a:pt x="768" y="746"/>
                  </a:lnTo>
                  <a:lnTo>
                    <a:pt x="780" y="775"/>
                  </a:lnTo>
                  <a:lnTo>
                    <a:pt x="791" y="806"/>
                  </a:lnTo>
                  <a:lnTo>
                    <a:pt x="803" y="843"/>
                  </a:lnTo>
                  <a:lnTo>
                    <a:pt x="803" y="843"/>
                  </a:lnTo>
                  <a:lnTo>
                    <a:pt x="806" y="856"/>
                  </a:lnTo>
                  <a:lnTo>
                    <a:pt x="807" y="867"/>
                  </a:lnTo>
                  <a:lnTo>
                    <a:pt x="805" y="877"/>
                  </a:lnTo>
                  <a:lnTo>
                    <a:pt x="802" y="886"/>
                  </a:lnTo>
                  <a:lnTo>
                    <a:pt x="796" y="895"/>
                  </a:lnTo>
                  <a:lnTo>
                    <a:pt x="789" y="902"/>
                  </a:lnTo>
                  <a:lnTo>
                    <a:pt x="781" y="909"/>
                  </a:lnTo>
                  <a:lnTo>
                    <a:pt x="772" y="914"/>
                  </a:lnTo>
                  <a:lnTo>
                    <a:pt x="763" y="917"/>
                  </a:lnTo>
                  <a:lnTo>
                    <a:pt x="753" y="919"/>
                  </a:lnTo>
                  <a:lnTo>
                    <a:pt x="742" y="919"/>
                  </a:lnTo>
                  <a:lnTo>
                    <a:pt x="733" y="917"/>
                  </a:lnTo>
                  <a:lnTo>
                    <a:pt x="723" y="914"/>
                  </a:lnTo>
                  <a:lnTo>
                    <a:pt x="715" y="908"/>
                  </a:lnTo>
                  <a:lnTo>
                    <a:pt x="707" y="900"/>
                  </a:lnTo>
                  <a:lnTo>
                    <a:pt x="700" y="890"/>
                  </a:lnTo>
                  <a:lnTo>
                    <a:pt x="700" y="890"/>
                  </a:lnTo>
                  <a:lnTo>
                    <a:pt x="682" y="854"/>
                  </a:lnTo>
                  <a:lnTo>
                    <a:pt x="665" y="824"/>
                  </a:lnTo>
                  <a:lnTo>
                    <a:pt x="649" y="798"/>
                  </a:lnTo>
                  <a:lnTo>
                    <a:pt x="634" y="776"/>
                  </a:lnTo>
                  <a:lnTo>
                    <a:pt x="619" y="757"/>
                  </a:lnTo>
                  <a:lnTo>
                    <a:pt x="603" y="741"/>
                  </a:lnTo>
                  <a:lnTo>
                    <a:pt x="587" y="728"/>
                  </a:lnTo>
                  <a:lnTo>
                    <a:pt x="570" y="716"/>
                  </a:lnTo>
                  <a:lnTo>
                    <a:pt x="551" y="707"/>
                  </a:lnTo>
                  <a:lnTo>
                    <a:pt x="530" y="698"/>
                  </a:lnTo>
                  <a:lnTo>
                    <a:pt x="506" y="689"/>
                  </a:lnTo>
                  <a:lnTo>
                    <a:pt x="480" y="680"/>
                  </a:lnTo>
                  <a:lnTo>
                    <a:pt x="415" y="660"/>
                  </a:lnTo>
                  <a:lnTo>
                    <a:pt x="331" y="633"/>
                  </a:lnTo>
                  <a:lnTo>
                    <a:pt x="331" y="633"/>
                  </a:lnTo>
                  <a:lnTo>
                    <a:pt x="321" y="626"/>
                  </a:lnTo>
                  <a:lnTo>
                    <a:pt x="312" y="618"/>
                  </a:lnTo>
                  <a:lnTo>
                    <a:pt x="304" y="610"/>
                  </a:lnTo>
                  <a:lnTo>
                    <a:pt x="298" y="600"/>
                  </a:lnTo>
                  <a:lnTo>
                    <a:pt x="295" y="590"/>
                  </a:lnTo>
                  <a:lnTo>
                    <a:pt x="291" y="579"/>
                  </a:lnTo>
                  <a:lnTo>
                    <a:pt x="290" y="567"/>
                  </a:lnTo>
                  <a:lnTo>
                    <a:pt x="289" y="555"/>
                  </a:lnTo>
                  <a:lnTo>
                    <a:pt x="329" y="335"/>
                  </a:lnTo>
                  <a:lnTo>
                    <a:pt x="329" y="335"/>
                  </a:lnTo>
                  <a:lnTo>
                    <a:pt x="298" y="346"/>
                  </a:lnTo>
                  <a:lnTo>
                    <a:pt x="275" y="354"/>
                  </a:lnTo>
                  <a:lnTo>
                    <a:pt x="266" y="358"/>
                  </a:lnTo>
                  <a:lnTo>
                    <a:pt x="259" y="364"/>
                  </a:lnTo>
                  <a:lnTo>
                    <a:pt x="253" y="370"/>
                  </a:lnTo>
                  <a:lnTo>
                    <a:pt x="248" y="375"/>
                  </a:lnTo>
                  <a:lnTo>
                    <a:pt x="244" y="383"/>
                  </a:lnTo>
                  <a:lnTo>
                    <a:pt x="240" y="392"/>
                  </a:lnTo>
                  <a:lnTo>
                    <a:pt x="238" y="403"/>
                  </a:lnTo>
                  <a:lnTo>
                    <a:pt x="234" y="414"/>
                  </a:lnTo>
                  <a:lnTo>
                    <a:pt x="229" y="445"/>
                  </a:lnTo>
                  <a:lnTo>
                    <a:pt x="222" y="485"/>
                  </a:lnTo>
                  <a:lnTo>
                    <a:pt x="222" y="485"/>
                  </a:lnTo>
                  <a:lnTo>
                    <a:pt x="220" y="493"/>
                  </a:lnTo>
                  <a:lnTo>
                    <a:pt x="216" y="500"/>
                  </a:lnTo>
                  <a:lnTo>
                    <a:pt x="210" y="505"/>
                  </a:lnTo>
                  <a:lnTo>
                    <a:pt x="205" y="510"/>
                  </a:lnTo>
                  <a:lnTo>
                    <a:pt x="197" y="513"/>
                  </a:lnTo>
                  <a:lnTo>
                    <a:pt x="189" y="516"/>
                  </a:lnTo>
                  <a:lnTo>
                    <a:pt x="181" y="517"/>
                  </a:lnTo>
                  <a:lnTo>
                    <a:pt x="173" y="516"/>
                  </a:lnTo>
                  <a:lnTo>
                    <a:pt x="165" y="514"/>
                  </a:lnTo>
                  <a:lnTo>
                    <a:pt x="157" y="511"/>
                  </a:lnTo>
                  <a:lnTo>
                    <a:pt x="150" y="508"/>
                  </a:lnTo>
                  <a:lnTo>
                    <a:pt x="144" y="502"/>
                  </a:lnTo>
                  <a:lnTo>
                    <a:pt x="139" y="495"/>
                  </a:lnTo>
                  <a:lnTo>
                    <a:pt x="135" y="488"/>
                  </a:lnTo>
                  <a:lnTo>
                    <a:pt x="133" y="479"/>
                  </a:lnTo>
                  <a:lnTo>
                    <a:pt x="133" y="469"/>
                  </a:lnTo>
                  <a:lnTo>
                    <a:pt x="133" y="469"/>
                  </a:lnTo>
                  <a:lnTo>
                    <a:pt x="136" y="437"/>
                  </a:lnTo>
                  <a:lnTo>
                    <a:pt x="141" y="408"/>
                  </a:lnTo>
                  <a:lnTo>
                    <a:pt x="145" y="383"/>
                  </a:lnTo>
                  <a:lnTo>
                    <a:pt x="151" y="362"/>
                  </a:lnTo>
                  <a:lnTo>
                    <a:pt x="157" y="342"/>
                  </a:lnTo>
                  <a:lnTo>
                    <a:pt x="165" y="325"/>
                  </a:lnTo>
                  <a:lnTo>
                    <a:pt x="174" y="310"/>
                  </a:lnTo>
                  <a:lnTo>
                    <a:pt x="184" y="298"/>
                  </a:lnTo>
                  <a:lnTo>
                    <a:pt x="197" y="285"/>
                  </a:lnTo>
                  <a:lnTo>
                    <a:pt x="212" y="275"/>
                  </a:lnTo>
                  <a:lnTo>
                    <a:pt x="229" y="265"/>
                  </a:lnTo>
                  <a:lnTo>
                    <a:pt x="248" y="255"/>
                  </a:lnTo>
                  <a:lnTo>
                    <a:pt x="270" y="245"/>
                  </a:lnTo>
                  <a:lnTo>
                    <a:pt x="294" y="236"/>
                  </a:lnTo>
                  <a:lnTo>
                    <a:pt x="353" y="213"/>
                  </a:lnTo>
                  <a:lnTo>
                    <a:pt x="353" y="213"/>
                  </a:lnTo>
                  <a:lnTo>
                    <a:pt x="363" y="211"/>
                  </a:lnTo>
                  <a:lnTo>
                    <a:pt x="376" y="211"/>
                  </a:lnTo>
                  <a:lnTo>
                    <a:pt x="390" y="212"/>
                  </a:lnTo>
                  <a:lnTo>
                    <a:pt x="403" y="214"/>
                  </a:lnTo>
                  <a:lnTo>
                    <a:pt x="430" y="220"/>
                  </a:lnTo>
                  <a:lnTo>
                    <a:pt x="447" y="226"/>
                  </a:lnTo>
                  <a:lnTo>
                    <a:pt x="499" y="318"/>
                  </a:lnTo>
                  <a:lnTo>
                    <a:pt x="531" y="253"/>
                  </a:lnTo>
                  <a:lnTo>
                    <a:pt x="531" y="25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91" name="그룹 24"/>
          <p:cNvGrpSpPr/>
          <p:nvPr/>
        </p:nvGrpSpPr>
        <p:grpSpPr>
          <a:xfrm>
            <a:off x="1561381" y="3331662"/>
            <a:ext cx="746364" cy="746363"/>
            <a:chOff x="848089" y="4829495"/>
            <a:chExt cx="923196" cy="923196"/>
          </a:xfrm>
        </p:grpSpPr>
        <p:sp>
          <p:nvSpPr>
            <p:cNvPr id="92" name="타원 25"/>
            <p:cNvSpPr/>
            <p:nvPr/>
          </p:nvSpPr>
          <p:spPr>
            <a:xfrm>
              <a:off x="848089" y="4829495"/>
              <a:ext cx="923196" cy="92319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93" name="Freeform 8"/>
            <p:cNvSpPr>
              <a:spLocks noEditPoints="1"/>
            </p:cNvSpPr>
            <p:nvPr/>
          </p:nvSpPr>
          <p:spPr bwMode="auto">
            <a:xfrm>
              <a:off x="1062562" y="5085717"/>
              <a:ext cx="494250" cy="410752"/>
            </a:xfrm>
            <a:custGeom>
              <a:avLst/>
              <a:gdLst>
                <a:gd name="T0" fmla="*/ 986 w 1102"/>
                <a:gd name="T1" fmla="*/ 519 h 916"/>
                <a:gd name="T2" fmla="*/ 1002 w 1102"/>
                <a:gd name="T3" fmla="*/ 634 h 916"/>
                <a:gd name="T4" fmla="*/ 964 w 1102"/>
                <a:gd name="T5" fmla="*/ 722 h 916"/>
                <a:gd name="T6" fmla="*/ 877 w 1102"/>
                <a:gd name="T7" fmla="*/ 781 h 916"/>
                <a:gd name="T8" fmla="*/ 827 w 1102"/>
                <a:gd name="T9" fmla="*/ 847 h 916"/>
                <a:gd name="T10" fmla="*/ 754 w 1102"/>
                <a:gd name="T11" fmla="*/ 889 h 916"/>
                <a:gd name="T12" fmla="*/ 642 w 1102"/>
                <a:gd name="T13" fmla="*/ 906 h 916"/>
                <a:gd name="T14" fmla="*/ 673 w 1102"/>
                <a:gd name="T15" fmla="*/ 859 h 916"/>
                <a:gd name="T16" fmla="*/ 721 w 1102"/>
                <a:gd name="T17" fmla="*/ 841 h 916"/>
                <a:gd name="T18" fmla="*/ 642 w 1102"/>
                <a:gd name="T19" fmla="*/ 730 h 916"/>
                <a:gd name="T20" fmla="*/ 761 w 1102"/>
                <a:gd name="T21" fmla="*/ 783 h 916"/>
                <a:gd name="T22" fmla="*/ 819 w 1102"/>
                <a:gd name="T23" fmla="*/ 786 h 916"/>
                <a:gd name="T24" fmla="*/ 723 w 1102"/>
                <a:gd name="T25" fmla="*/ 679 h 916"/>
                <a:gd name="T26" fmla="*/ 736 w 1102"/>
                <a:gd name="T27" fmla="*/ 636 h 916"/>
                <a:gd name="T28" fmla="*/ 871 w 1102"/>
                <a:gd name="T29" fmla="*/ 725 h 916"/>
                <a:gd name="T30" fmla="*/ 909 w 1102"/>
                <a:gd name="T31" fmla="*/ 686 h 916"/>
                <a:gd name="T32" fmla="*/ 779 w 1102"/>
                <a:gd name="T33" fmla="*/ 558 h 916"/>
                <a:gd name="T34" fmla="*/ 822 w 1102"/>
                <a:gd name="T35" fmla="*/ 543 h 916"/>
                <a:gd name="T36" fmla="*/ 957 w 1102"/>
                <a:gd name="T37" fmla="*/ 603 h 916"/>
                <a:gd name="T38" fmla="*/ 655 w 1102"/>
                <a:gd name="T39" fmla="*/ 289 h 916"/>
                <a:gd name="T40" fmla="*/ 700 w 1102"/>
                <a:gd name="T41" fmla="*/ 274 h 916"/>
                <a:gd name="T42" fmla="*/ 92 w 1102"/>
                <a:gd name="T43" fmla="*/ 421 h 916"/>
                <a:gd name="T44" fmla="*/ 0 w 1102"/>
                <a:gd name="T45" fmla="*/ 244 h 916"/>
                <a:gd name="T46" fmla="*/ 166 w 1102"/>
                <a:gd name="T47" fmla="*/ 31 h 916"/>
                <a:gd name="T48" fmla="*/ 248 w 1102"/>
                <a:gd name="T49" fmla="*/ 2 h 916"/>
                <a:gd name="T50" fmla="*/ 346 w 1102"/>
                <a:gd name="T51" fmla="*/ 57 h 916"/>
                <a:gd name="T52" fmla="*/ 503 w 1102"/>
                <a:gd name="T53" fmla="*/ 39 h 916"/>
                <a:gd name="T54" fmla="*/ 324 w 1102"/>
                <a:gd name="T55" fmla="*/ 107 h 916"/>
                <a:gd name="T56" fmla="*/ 223 w 1102"/>
                <a:gd name="T57" fmla="*/ 57 h 916"/>
                <a:gd name="T58" fmla="*/ 57 w 1102"/>
                <a:gd name="T59" fmla="*/ 257 h 916"/>
                <a:gd name="T60" fmla="*/ 136 w 1102"/>
                <a:gd name="T61" fmla="*/ 353 h 916"/>
                <a:gd name="T62" fmla="*/ 142 w 1102"/>
                <a:gd name="T63" fmla="*/ 480 h 916"/>
                <a:gd name="T64" fmla="*/ 515 w 1102"/>
                <a:gd name="T65" fmla="*/ 757 h 916"/>
                <a:gd name="T66" fmla="*/ 490 w 1102"/>
                <a:gd name="T67" fmla="*/ 742 h 916"/>
                <a:gd name="T68" fmla="*/ 437 w 1102"/>
                <a:gd name="T69" fmla="*/ 679 h 916"/>
                <a:gd name="T70" fmla="*/ 377 w 1102"/>
                <a:gd name="T71" fmla="*/ 681 h 916"/>
                <a:gd name="T72" fmla="*/ 354 w 1102"/>
                <a:gd name="T73" fmla="*/ 616 h 916"/>
                <a:gd name="T74" fmla="*/ 283 w 1102"/>
                <a:gd name="T75" fmla="*/ 601 h 916"/>
                <a:gd name="T76" fmla="*/ 271 w 1102"/>
                <a:gd name="T77" fmla="*/ 524 h 916"/>
                <a:gd name="T78" fmla="*/ 187 w 1102"/>
                <a:gd name="T79" fmla="*/ 506 h 916"/>
                <a:gd name="T80" fmla="*/ 128 w 1102"/>
                <a:gd name="T81" fmla="*/ 583 h 916"/>
                <a:gd name="T82" fmla="*/ 166 w 1102"/>
                <a:gd name="T83" fmla="*/ 654 h 916"/>
                <a:gd name="T84" fmla="*/ 220 w 1102"/>
                <a:gd name="T85" fmla="*/ 664 h 916"/>
                <a:gd name="T86" fmla="*/ 229 w 1102"/>
                <a:gd name="T87" fmla="*/ 762 h 916"/>
                <a:gd name="T88" fmla="*/ 326 w 1102"/>
                <a:gd name="T89" fmla="*/ 758 h 916"/>
                <a:gd name="T90" fmla="*/ 343 w 1102"/>
                <a:gd name="T91" fmla="*/ 809 h 916"/>
                <a:gd name="T92" fmla="*/ 439 w 1102"/>
                <a:gd name="T93" fmla="*/ 827 h 916"/>
                <a:gd name="T94" fmla="*/ 458 w 1102"/>
                <a:gd name="T95" fmla="*/ 848 h 916"/>
                <a:gd name="T96" fmla="*/ 518 w 1102"/>
                <a:gd name="T97" fmla="*/ 899 h 916"/>
                <a:gd name="T98" fmla="*/ 592 w 1102"/>
                <a:gd name="T99" fmla="*/ 858 h 916"/>
                <a:gd name="T100" fmla="*/ 577 w 1102"/>
                <a:gd name="T101" fmla="*/ 771 h 916"/>
                <a:gd name="T102" fmla="*/ 992 w 1102"/>
                <a:gd name="T103" fmla="*/ 425 h 916"/>
                <a:gd name="T104" fmla="*/ 1045 w 1102"/>
                <a:gd name="T105" fmla="*/ 300 h 916"/>
                <a:gd name="T106" fmla="*/ 1084 w 1102"/>
                <a:gd name="T107" fmla="*/ 166 h 916"/>
                <a:gd name="T108" fmla="*/ 828 w 1102"/>
                <a:gd name="T109" fmla="*/ 40 h 916"/>
                <a:gd name="T110" fmla="*/ 657 w 1102"/>
                <a:gd name="T111" fmla="*/ 41 h 916"/>
                <a:gd name="T112" fmla="*/ 319 w 1102"/>
                <a:gd name="T113" fmla="*/ 237 h 916"/>
                <a:gd name="T114" fmla="*/ 343 w 1102"/>
                <a:gd name="T115" fmla="*/ 324 h 916"/>
                <a:gd name="T116" fmla="*/ 584 w 1102"/>
                <a:gd name="T117" fmla="*/ 214 h 916"/>
                <a:gd name="T118" fmla="*/ 683 w 1102"/>
                <a:gd name="T119" fmla="*/ 231 h 916"/>
                <a:gd name="T120" fmla="*/ 764 w 1102"/>
                <a:gd name="T121" fmla="*/ 245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02" h="916">
                  <a:moveTo>
                    <a:pt x="717" y="273"/>
                  </a:moveTo>
                  <a:lnTo>
                    <a:pt x="717" y="273"/>
                  </a:lnTo>
                  <a:lnTo>
                    <a:pt x="817" y="363"/>
                  </a:lnTo>
                  <a:lnTo>
                    <a:pt x="866" y="407"/>
                  </a:lnTo>
                  <a:lnTo>
                    <a:pt x="915" y="454"/>
                  </a:lnTo>
                  <a:lnTo>
                    <a:pt x="915" y="454"/>
                  </a:lnTo>
                  <a:lnTo>
                    <a:pt x="922" y="459"/>
                  </a:lnTo>
                  <a:lnTo>
                    <a:pt x="929" y="465"/>
                  </a:lnTo>
                  <a:lnTo>
                    <a:pt x="965" y="498"/>
                  </a:lnTo>
                  <a:lnTo>
                    <a:pt x="986" y="519"/>
                  </a:lnTo>
                  <a:lnTo>
                    <a:pt x="986" y="519"/>
                  </a:lnTo>
                  <a:lnTo>
                    <a:pt x="995" y="530"/>
                  </a:lnTo>
                  <a:lnTo>
                    <a:pt x="1002" y="540"/>
                  </a:lnTo>
                  <a:lnTo>
                    <a:pt x="1007" y="550"/>
                  </a:lnTo>
                  <a:lnTo>
                    <a:pt x="1011" y="561"/>
                  </a:lnTo>
                  <a:lnTo>
                    <a:pt x="1014" y="572"/>
                  </a:lnTo>
                  <a:lnTo>
                    <a:pt x="1014" y="583"/>
                  </a:lnTo>
                  <a:lnTo>
                    <a:pt x="1014" y="593"/>
                  </a:lnTo>
                  <a:lnTo>
                    <a:pt x="1013" y="605"/>
                  </a:lnTo>
                  <a:lnTo>
                    <a:pt x="1011" y="615"/>
                  </a:lnTo>
                  <a:lnTo>
                    <a:pt x="1006" y="625"/>
                  </a:lnTo>
                  <a:lnTo>
                    <a:pt x="1002" y="634"/>
                  </a:lnTo>
                  <a:lnTo>
                    <a:pt x="996" y="644"/>
                  </a:lnTo>
                  <a:lnTo>
                    <a:pt x="988" y="652"/>
                  </a:lnTo>
                  <a:lnTo>
                    <a:pt x="980" y="658"/>
                  </a:lnTo>
                  <a:lnTo>
                    <a:pt x="972" y="664"/>
                  </a:lnTo>
                  <a:lnTo>
                    <a:pt x="962" y="669"/>
                  </a:lnTo>
                  <a:lnTo>
                    <a:pt x="962" y="669"/>
                  </a:lnTo>
                  <a:lnTo>
                    <a:pt x="965" y="680"/>
                  </a:lnTo>
                  <a:lnTo>
                    <a:pt x="967" y="692"/>
                  </a:lnTo>
                  <a:lnTo>
                    <a:pt x="967" y="702"/>
                  </a:lnTo>
                  <a:lnTo>
                    <a:pt x="966" y="712"/>
                  </a:lnTo>
                  <a:lnTo>
                    <a:pt x="964" y="722"/>
                  </a:lnTo>
                  <a:lnTo>
                    <a:pt x="960" y="731"/>
                  </a:lnTo>
                  <a:lnTo>
                    <a:pt x="956" y="741"/>
                  </a:lnTo>
                  <a:lnTo>
                    <a:pt x="950" y="749"/>
                  </a:lnTo>
                  <a:lnTo>
                    <a:pt x="943" y="755"/>
                  </a:lnTo>
                  <a:lnTo>
                    <a:pt x="937" y="762"/>
                  </a:lnTo>
                  <a:lnTo>
                    <a:pt x="927" y="768"/>
                  </a:lnTo>
                  <a:lnTo>
                    <a:pt x="918" y="774"/>
                  </a:lnTo>
                  <a:lnTo>
                    <a:pt x="909" y="777"/>
                  </a:lnTo>
                  <a:lnTo>
                    <a:pt x="899" y="779"/>
                  </a:lnTo>
                  <a:lnTo>
                    <a:pt x="889" y="781"/>
                  </a:lnTo>
                  <a:lnTo>
                    <a:pt x="877" y="781"/>
                  </a:lnTo>
                  <a:lnTo>
                    <a:pt x="877" y="781"/>
                  </a:lnTo>
                  <a:lnTo>
                    <a:pt x="876" y="790"/>
                  </a:lnTo>
                  <a:lnTo>
                    <a:pt x="874" y="799"/>
                  </a:lnTo>
                  <a:lnTo>
                    <a:pt x="870" y="807"/>
                  </a:lnTo>
                  <a:lnTo>
                    <a:pt x="866" y="815"/>
                  </a:lnTo>
                  <a:lnTo>
                    <a:pt x="861" y="822"/>
                  </a:lnTo>
                  <a:lnTo>
                    <a:pt x="855" y="827"/>
                  </a:lnTo>
                  <a:lnTo>
                    <a:pt x="849" y="834"/>
                  </a:lnTo>
                  <a:lnTo>
                    <a:pt x="842" y="839"/>
                  </a:lnTo>
                  <a:lnTo>
                    <a:pt x="835" y="843"/>
                  </a:lnTo>
                  <a:lnTo>
                    <a:pt x="827" y="847"/>
                  </a:lnTo>
                  <a:lnTo>
                    <a:pt x="819" y="850"/>
                  </a:lnTo>
                  <a:lnTo>
                    <a:pt x="811" y="852"/>
                  </a:lnTo>
                  <a:lnTo>
                    <a:pt x="802" y="854"/>
                  </a:lnTo>
                  <a:lnTo>
                    <a:pt x="793" y="854"/>
                  </a:lnTo>
                  <a:lnTo>
                    <a:pt x="784" y="852"/>
                  </a:lnTo>
                  <a:lnTo>
                    <a:pt x="774" y="851"/>
                  </a:lnTo>
                  <a:lnTo>
                    <a:pt x="774" y="851"/>
                  </a:lnTo>
                  <a:lnTo>
                    <a:pt x="771" y="862"/>
                  </a:lnTo>
                  <a:lnTo>
                    <a:pt x="766" y="872"/>
                  </a:lnTo>
                  <a:lnTo>
                    <a:pt x="761" y="881"/>
                  </a:lnTo>
                  <a:lnTo>
                    <a:pt x="754" y="889"/>
                  </a:lnTo>
                  <a:lnTo>
                    <a:pt x="746" y="897"/>
                  </a:lnTo>
                  <a:lnTo>
                    <a:pt x="738" y="903"/>
                  </a:lnTo>
                  <a:lnTo>
                    <a:pt x="729" y="907"/>
                  </a:lnTo>
                  <a:lnTo>
                    <a:pt x="719" y="912"/>
                  </a:lnTo>
                  <a:lnTo>
                    <a:pt x="708" y="914"/>
                  </a:lnTo>
                  <a:lnTo>
                    <a:pt x="698" y="916"/>
                  </a:lnTo>
                  <a:lnTo>
                    <a:pt x="687" y="916"/>
                  </a:lnTo>
                  <a:lnTo>
                    <a:pt x="675" y="915"/>
                  </a:lnTo>
                  <a:lnTo>
                    <a:pt x="664" y="914"/>
                  </a:lnTo>
                  <a:lnTo>
                    <a:pt x="652" y="911"/>
                  </a:lnTo>
                  <a:lnTo>
                    <a:pt x="642" y="906"/>
                  </a:lnTo>
                  <a:lnTo>
                    <a:pt x="631" y="900"/>
                  </a:lnTo>
                  <a:lnTo>
                    <a:pt x="623" y="895"/>
                  </a:lnTo>
                  <a:lnTo>
                    <a:pt x="623" y="895"/>
                  </a:lnTo>
                  <a:lnTo>
                    <a:pt x="631" y="883"/>
                  </a:lnTo>
                  <a:lnTo>
                    <a:pt x="636" y="871"/>
                  </a:lnTo>
                  <a:lnTo>
                    <a:pt x="641" y="858"/>
                  </a:lnTo>
                  <a:lnTo>
                    <a:pt x="644" y="844"/>
                  </a:lnTo>
                  <a:lnTo>
                    <a:pt x="644" y="844"/>
                  </a:lnTo>
                  <a:lnTo>
                    <a:pt x="656" y="851"/>
                  </a:lnTo>
                  <a:lnTo>
                    <a:pt x="667" y="857"/>
                  </a:lnTo>
                  <a:lnTo>
                    <a:pt x="673" y="859"/>
                  </a:lnTo>
                  <a:lnTo>
                    <a:pt x="679" y="860"/>
                  </a:lnTo>
                  <a:lnTo>
                    <a:pt x="684" y="862"/>
                  </a:lnTo>
                  <a:lnTo>
                    <a:pt x="691" y="862"/>
                  </a:lnTo>
                  <a:lnTo>
                    <a:pt x="691" y="862"/>
                  </a:lnTo>
                  <a:lnTo>
                    <a:pt x="701" y="859"/>
                  </a:lnTo>
                  <a:lnTo>
                    <a:pt x="709" y="856"/>
                  </a:lnTo>
                  <a:lnTo>
                    <a:pt x="713" y="852"/>
                  </a:lnTo>
                  <a:lnTo>
                    <a:pt x="716" y="849"/>
                  </a:lnTo>
                  <a:lnTo>
                    <a:pt x="719" y="846"/>
                  </a:lnTo>
                  <a:lnTo>
                    <a:pt x="721" y="841"/>
                  </a:lnTo>
                  <a:lnTo>
                    <a:pt x="721" y="841"/>
                  </a:lnTo>
                  <a:lnTo>
                    <a:pt x="722" y="832"/>
                  </a:lnTo>
                  <a:lnTo>
                    <a:pt x="720" y="820"/>
                  </a:lnTo>
                  <a:lnTo>
                    <a:pt x="649" y="763"/>
                  </a:lnTo>
                  <a:lnTo>
                    <a:pt x="649" y="763"/>
                  </a:lnTo>
                  <a:lnTo>
                    <a:pt x="645" y="760"/>
                  </a:lnTo>
                  <a:lnTo>
                    <a:pt x="642" y="755"/>
                  </a:lnTo>
                  <a:lnTo>
                    <a:pt x="640" y="751"/>
                  </a:lnTo>
                  <a:lnTo>
                    <a:pt x="639" y="745"/>
                  </a:lnTo>
                  <a:lnTo>
                    <a:pt x="639" y="741"/>
                  </a:lnTo>
                  <a:lnTo>
                    <a:pt x="640" y="735"/>
                  </a:lnTo>
                  <a:lnTo>
                    <a:pt x="642" y="730"/>
                  </a:lnTo>
                  <a:lnTo>
                    <a:pt x="644" y="726"/>
                  </a:lnTo>
                  <a:lnTo>
                    <a:pt x="644" y="726"/>
                  </a:lnTo>
                  <a:lnTo>
                    <a:pt x="649" y="721"/>
                  </a:lnTo>
                  <a:lnTo>
                    <a:pt x="653" y="719"/>
                  </a:lnTo>
                  <a:lnTo>
                    <a:pt x="658" y="717"/>
                  </a:lnTo>
                  <a:lnTo>
                    <a:pt x="663" y="716"/>
                  </a:lnTo>
                  <a:lnTo>
                    <a:pt x="668" y="716"/>
                  </a:lnTo>
                  <a:lnTo>
                    <a:pt x="673" y="717"/>
                  </a:lnTo>
                  <a:lnTo>
                    <a:pt x="679" y="718"/>
                  </a:lnTo>
                  <a:lnTo>
                    <a:pt x="683" y="721"/>
                  </a:lnTo>
                  <a:lnTo>
                    <a:pt x="761" y="783"/>
                  </a:lnTo>
                  <a:lnTo>
                    <a:pt x="761" y="783"/>
                  </a:lnTo>
                  <a:lnTo>
                    <a:pt x="768" y="789"/>
                  </a:lnTo>
                  <a:lnTo>
                    <a:pt x="774" y="793"/>
                  </a:lnTo>
                  <a:lnTo>
                    <a:pt x="782" y="797"/>
                  </a:lnTo>
                  <a:lnTo>
                    <a:pt x="789" y="798"/>
                  </a:lnTo>
                  <a:lnTo>
                    <a:pt x="795" y="799"/>
                  </a:lnTo>
                  <a:lnTo>
                    <a:pt x="802" y="798"/>
                  </a:lnTo>
                  <a:lnTo>
                    <a:pt x="809" y="795"/>
                  </a:lnTo>
                  <a:lnTo>
                    <a:pt x="814" y="792"/>
                  </a:lnTo>
                  <a:lnTo>
                    <a:pt x="814" y="792"/>
                  </a:lnTo>
                  <a:lnTo>
                    <a:pt x="819" y="786"/>
                  </a:lnTo>
                  <a:lnTo>
                    <a:pt x="822" y="781"/>
                  </a:lnTo>
                  <a:lnTo>
                    <a:pt x="822" y="781"/>
                  </a:lnTo>
                  <a:lnTo>
                    <a:pt x="824" y="774"/>
                  </a:lnTo>
                  <a:lnTo>
                    <a:pt x="825" y="767"/>
                  </a:lnTo>
                  <a:lnTo>
                    <a:pt x="825" y="763"/>
                  </a:lnTo>
                  <a:lnTo>
                    <a:pt x="824" y="760"/>
                  </a:lnTo>
                  <a:lnTo>
                    <a:pt x="821" y="758"/>
                  </a:lnTo>
                  <a:lnTo>
                    <a:pt x="819" y="754"/>
                  </a:lnTo>
                  <a:lnTo>
                    <a:pt x="727" y="682"/>
                  </a:lnTo>
                  <a:lnTo>
                    <a:pt x="727" y="682"/>
                  </a:lnTo>
                  <a:lnTo>
                    <a:pt x="723" y="679"/>
                  </a:lnTo>
                  <a:lnTo>
                    <a:pt x="720" y="674"/>
                  </a:lnTo>
                  <a:lnTo>
                    <a:pt x="717" y="670"/>
                  </a:lnTo>
                  <a:lnTo>
                    <a:pt x="716" y="664"/>
                  </a:lnTo>
                  <a:lnTo>
                    <a:pt x="716" y="660"/>
                  </a:lnTo>
                  <a:lnTo>
                    <a:pt x="717" y="654"/>
                  </a:lnTo>
                  <a:lnTo>
                    <a:pt x="720" y="649"/>
                  </a:lnTo>
                  <a:lnTo>
                    <a:pt x="722" y="645"/>
                  </a:lnTo>
                  <a:lnTo>
                    <a:pt x="722" y="645"/>
                  </a:lnTo>
                  <a:lnTo>
                    <a:pt x="727" y="640"/>
                  </a:lnTo>
                  <a:lnTo>
                    <a:pt x="731" y="638"/>
                  </a:lnTo>
                  <a:lnTo>
                    <a:pt x="736" y="636"/>
                  </a:lnTo>
                  <a:lnTo>
                    <a:pt x="740" y="634"/>
                  </a:lnTo>
                  <a:lnTo>
                    <a:pt x="746" y="634"/>
                  </a:lnTo>
                  <a:lnTo>
                    <a:pt x="750" y="634"/>
                  </a:lnTo>
                  <a:lnTo>
                    <a:pt x="756" y="637"/>
                  </a:lnTo>
                  <a:lnTo>
                    <a:pt x="761" y="640"/>
                  </a:lnTo>
                  <a:lnTo>
                    <a:pt x="857" y="716"/>
                  </a:lnTo>
                  <a:lnTo>
                    <a:pt x="857" y="716"/>
                  </a:lnTo>
                  <a:lnTo>
                    <a:pt x="859" y="717"/>
                  </a:lnTo>
                  <a:lnTo>
                    <a:pt x="859" y="717"/>
                  </a:lnTo>
                  <a:lnTo>
                    <a:pt x="865" y="721"/>
                  </a:lnTo>
                  <a:lnTo>
                    <a:pt x="871" y="725"/>
                  </a:lnTo>
                  <a:lnTo>
                    <a:pt x="878" y="726"/>
                  </a:lnTo>
                  <a:lnTo>
                    <a:pt x="884" y="727"/>
                  </a:lnTo>
                  <a:lnTo>
                    <a:pt x="891" y="726"/>
                  </a:lnTo>
                  <a:lnTo>
                    <a:pt x="897" y="723"/>
                  </a:lnTo>
                  <a:lnTo>
                    <a:pt x="901" y="720"/>
                  </a:lnTo>
                  <a:lnTo>
                    <a:pt x="906" y="717"/>
                  </a:lnTo>
                  <a:lnTo>
                    <a:pt x="909" y="711"/>
                  </a:lnTo>
                  <a:lnTo>
                    <a:pt x="911" y="705"/>
                  </a:lnTo>
                  <a:lnTo>
                    <a:pt x="913" y="700"/>
                  </a:lnTo>
                  <a:lnTo>
                    <a:pt x="911" y="693"/>
                  </a:lnTo>
                  <a:lnTo>
                    <a:pt x="909" y="686"/>
                  </a:lnTo>
                  <a:lnTo>
                    <a:pt x="906" y="678"/>
                  </a:lnTo>
                  <a:lnTo>
                    <a:pt x="899" y="671"/>
                  </a:lnTo>
                  <a:lnTo>
                    <a:pt x="891" y="663"/>
                  </a:lnTo>
                  <a:lnTo>
                    <a:pt x="789" y="587"/>
                  </a:lnTo>
                  <a:lnTo>
                    <a:pt x="789" y="587"/>
                  </a:lnTo>
                  <a:lnTo>
                    <a:pt x="785" y="583"/>
                  </a:lnTo>
                  <a:lnTo>
                    <a:pt x="782" y="579"/>
                  </a:lnTo>
                  <a:lnTo>
                    <a:pt x="780" y="574"/>
                  </a:lnTo>
                  <a:lnTo>
                    <a:pt x="779" y="568"/>
                  </a:lnTo>
                  <a:lnTo>
                    <a:pt x="779" y="564"/>
                  </a:lnTo>
                  <a:lnTo>
                    <a:pt x="779" y="558"/>
                  </a:lnTo>
                  <a:lnTo>
                    <a:pt x="781" y="553"/>
                  </a:lnTo>
                  <a:lnTo>
                    <a:pt x="784" y="549"/>
                  </a:lnTo>
                  <a:lnTo>
                    <a:pt x="784" y="549"/>
                  </a:lnTo>
                  <a:lnTo>
                    <a:pt x="788" y="544"/>
                  </a:lnTo>
                  <a:lnTo>
                    <a:pt x="792" y="541"/>
                  </a:lnTo>
                  <a:lnTo>
                    <a:pt x="797" y="539"/>
                  </a:lnTo>
                  <a:lnTo>
                    <a:pt x="802" y="538"/>
                  </a:lnTo>
                  <a:lnTo>
                    <a:pt x="808" y="538"/>
                  </a:lnTo>
                  <a:lnTo>
                    <a:pt x="812" y="539"/>
                  </a:lnTo>
                  <a:lnTo>
                    <a:pt x="818" y="540"/>
                  </a:lnTo>
                  <a:lnTo>
                    <a:pt x="822" y="543"/>
                  </a:lnTo>
                  <a:lnTo>
                    <a:pt x="923" y="619"/>
                  </a:lnTo>
                  <a:lnTo>
                    <a:pt x="923" y="619"/>
                  </a:lnTo>
                  <a:lnTo>
                    <a:pt x="927" y="621"/>
                  </a:lnTo>
                  <a:lnTo>
                    <a:pt x="931" y="621"/>
                  </a:lnTo>
                  <a:lnTo>
                    <a:pt x="935" y="621"/>
                  </a:lnTo>
                  <a:lnTo>
                    <a:pt x="939" y="620"/>
                  </a:lnTo>
                  <a:lnTo>
                    <a:pt x="943" y="617"/>
                  </a:lnTo>
                  <a:lnTo>
                    <a:pt x="947" y="615"/>
                  </a:lnTo>
                  <a:lnTo>
                    <a:pt x="954" y="608"/>
                  </a:lnTo>
                  <a:lnTo>
                    <a:pt x="954" y="608"/>
                  </a:lnTo>
                  <a:lnTo>
                    <a:pt x="957" y="603"/>
                  </a:lnTo>
                  <a:lnTo>
                    <a:pt x="959" y="596"/>
                  </a:lnTo>
                  <a:lnTo>
                    <a:pt x="960" y="590"/>
                  </a:lnTo>
                  <a:lnTo>
                    <a:pt x="960" y="583"/>
                  </a:lnTo>
                  <a:lnTo>
                    <a:pt x="958" y="576"/>
                  </a:lnTo>
                  <a:lnTo>
                    <a:pt x="956" y="569"/>
                  </a:lnTo>
                  <a:lnTo>
                    <a:pt x="952" y="564"/>
                  </a:lnTo>
                  <a:lnTo>
                    <a:pt x="947" y="558"/>
                  </a:lnTo>
                  <a:lnTo>
                    <a:pt x="926" y="536"/>
                  </a:lnTo>
                  <a:lnTo>
                    <a:pt x="657" y="291"/>
                  </a:lnTo>
                  <a:lnTo>
                    <a:pt x="657" y="291"/>
                  </a:lnTo>
                  <a:lnTo>
                    <a:pt x="655" y="289"/>
                  </a:lnTo>
                  <a:lnTo>
                    <a:pt x="655" y="287"/>
                  </a:lnTo>
                  <a:lnTo>
                    <a:pt x="653" y="284"/>
                  </a:lnTo>
                  <a:lnTo>
                    <a:pt x="655" y="281"/>
                  </a:lnTo>
                  <a:lnTo>
                    <a:pt x="656" y="279"/>
                  </a:lnTo>
                  <a:lnTo>
                    <a:pt x="658" y="277"/>
                  </a:lnTo>
                  <a:lnTo>
                    <a:pt x="660" y="276"/>
                  </a:lnTo>
                  <a:lnTo>
                    <a:pt x="664" y="276"/>
                  </a:lnTo>
                  <a:lnTo>
                    <a:pt x="664" y="276"/>
                  </a:lnTo>
                  <a:lnTo>
                    <a:pt x="676" y="276"/>
                  </a:lnTo>
                  <a:lnTo>
                    <a:pt x="689" y="275"/>
                  </a:lnTo>
                  <a:lnTo>
                    <a:pt x="700" y="274"/>
                  </a:lnTo>
                  <a:lnTo>
                    <a:pt x="713" y="273"/>
                  </a:lnTo>
                  <a:lnTo>
                    <a:pt x="713" y="273"/>
                  </a:lnTo>
                  <a:lnTo>
                    <a:pt x="717" y="273"/>
                  </a:lnTo>
                  <a:lnTo>
                    <a:pt x="717" y="273"/>
                  </a:lnTo>
                  <a:close/>
                  <a:moveTo>
                    <a:pt x="123" y="501"/>
                  </a:moveTo>
                  <a:lnTo>
                    <a:pt x="123" y="501"/>
                  </a:lnTo>
                  <a:lnTo>
                    <a:pt x="114" y="486"/>
                  </a:lnTo>
                  <a:lnTo>
                    <a:pt x="107" y="471"/>
                  </a:lnTo>
                  <a:lnTo>
                    <a:pt x="101" y="455"/>
                  </a:lnTo>
                  <a:lnTo>
                    <a:pt x="97" y="438"/>
                  </a:lnTo>
                  <a:lnTo>
                    <a:pt x="92" y="421"/>
                  </a:lnTo>
                  <a:lnTo>
                    <a:pt x="90" y="404"/>
                  </a:lnTo>
                  <a:lnTo>
                    <a:pt x="85" y="368"/>
                  </a:lnTo>
                  <a:lnTo>
                    <a:pt x="51" y="336"/>
                  </a:lnTo>
                  <a:lnTo>
                    <a:pt x="51" y="336"/>
                  </a:lnTo>
                  <a:lnTo>
                    <a:pt x="31" y="315"/>
                  </a:lnTo>
                  <a:lnTo>
                    <a:pt x="22" y="305"/>
                  </a:lnTo>
                  <a:lnTo>
                    <a:pt x="16" y="295"/>
                  </a:lnTo>
                  <a:lnTo>
                    <a:pt x="9" y="284"/>
                  </a:lnTo>
                  <a:lnTo>
                    <a:pt x="4" y="272"/>
                  </a:lnTo>
                  <a:lnTo>
                    <a:pt x="1" y="259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1" y="236"/>
                  </a:lnTo>
                  <a:lnTo>
                    <a:pt x="2" y="228"/>
                  </a:lnTo>
                  <a:lnTo>
                    <a:pt x="3" y="220"/>
                  </a:lnTo>
                  <a:lnTo>
                    <a:pt x="6" y="214"/>
                  </a:lnTo>
                  <a:lnTo>
                    <a:pt x="10" y="206"/>
                  </a:lnTo>
                  <a:lnTo>
                    <a:pt x="13" y="199"/>
                  </a:lnTo>
                  <a:lnTo>
                    <a:pt x="18" y="192"/>
                  </a:lnTo>
                  <a:lnTo>
                    <a:pt x="23" y="185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72" y="24"/>
                  </a:lnTo>
                  <a:lnTo>
                    <a:pt x="179" y="20"/>
                  </a:lnTo>
                  <a:lnTo>
                    <a:pt x="186" y="15"/>
                  </a:lnTo>
                  <a:lnTo>
                    <a:pt x="194" y="10"/>
                  </a:lnTo>
                  <a:lnTo>
                    <a:pt x="200" y="7"/>
                  </a:lnTo>
                  <a:lnTo>
                    <a:pt x="208" y="5"/>
                  </a:lnTo>
                  <a:lnTo>
                    <a:pt x="216" y="2"/>
                  </a:lnTo>
                  <a:lnTo>
                    <a:pt x="224" y="1"/>
                  </a:lnTo>
                  <a:lnTo>
                    <a:pt x="232" y="1"/>
                  </a:lnTo>
                  <a:lnTo>
                    <a:pt x="240" y="1"/>
                  </a:lnTo>
                  <a:lnTo>
                    <a:pt x="248" y="2"/>
                  </a:lnTo>
                  <a:lnTo>
                    <a:pt x="256" y="5"/>
                  </a:lnTo>
                  <a:lnTo>
                    <a:pt x="264" y="7"/>
                  </a:lnTo>
                  <a:lnTo>
                    <a:pt x="272" y="10"/>
                  </a:lnTo>
                  <a:lnTo>
                    <a:pt x="279" y="15"/>
                  </a:lnTo>
                  <a:lnTo>
                    <a:pt x="286" y="20"/>
                  </a:lnTo>
                  <a:lnTo>
                    <a:pt x="286" y="20"/>
                  </a:lnTo>
                  <a:lnTo>
                    <a:pt x="301" y="31"/>
                  </a:lnTo>
                  <a:lnTo>
                    <a:pt x="315" y="40"/>
                  </a:lnTo>
                  <a:lnTo>
                    <a:pt x="328" y="49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59" y="62"/>
                  </a:lnTo>
                  <a:lnTo>
                    <a:pt x="366" y="63"/>
                  </a:lnTo>
                  <a:lnTo>
                    <a:pt x="366" y="63"/>
                  </a:lnTo>
                  <a:lnTo>
                    <a:pt x="382" y="59"/>
                  </a:lnTo>
                  <a:lnTo>
                    <a:pt x="398" y="56"/>
                  </a:lnTo>
                  <a:lnTo>
                    <a:pt x="432" y="48"/>
                  </a:lnTo>
                  <a:lnTo>
                    <a:pt x="449" y="45"/>
                  </a:lnTo>
                  <a:lnTo>
                    <a:pt x="467" y="41"/>
                  </a:lnTo>
                  <a:lnTo>
                    <a:pt x="485" y="39"/>
                  </a:lnTo>
                  <a:lnTo>
                    <a:pt x="503" y="39"/>
                  </a:lnTo>
                  <a:lnTo>
                    <a:pt x="503" y="39"/>
                  </a:lnTo>
                  <a:lnTo>
                    <a:pt x="480" y="55"/>
                  </a:lnTo>
                  <a:lnTo>
                    <a:pt x="449" y="79"/>
                  </a:lnTo>
                  <a:lnTo>
                    <a:pt x="408" y="110"/>
                  </a:lnTo>
                  <a:lnTo>
                    <a:pt x="408" y="110"/>
                  </a:lnTo>
                  <a:lnTo>
                    <a:pt x="390" y="114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62" y="117"/>
                  </a:lnTo>
                  <a:lnTo>
                    <a:pt x="350" y="115"/>
                  </a:lnTo>
                  <a:lnTo>
                    <a:pt x="337" y="112"/>
                  </a:lnTo>
                  <a:lnTo>
                    <a:pt x="324" y="107"/>
                  </a:lnTo>
                  <a:lnTo>
                    <a:pt x="311" y="102"/>
                  </a:lnTo>
                  <a:lnTo>
                    <a:pt x="300" y="96"/>
                  </a:lnTo>
                  <a:lnTo>
                    <a:pt x="289" y="89"/>
                  </a:lnTo>
                  <a:lnTo>
                    <a:pt x="280" y="85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47" y="59"/>
                  </a:lnTo>
                  <a:lnTo>
                    <a:pt x="241" y="57"/>
                  </a:lnTo>
                  <a:lnTo>
                    <a:pt x="236" y="56"/>
                  </a:lnTo>
                  <a:lnTo>
                    <a:pt x="229" y="56"/>
                  </a:lnTo>
                  <a:lnTo>
                    <a:pt x="223" y="57"/>
                  </a:lnTo>
                  <a:lnTo>
                    <a:pt x="218" y="59"/>
                  </a:lnTo>
                  <a:lnTo>
                    <a:pt x="212" y="63"/>
                  </a:lnTo>
                  <a:lnTo>
                    <a:pt x="206" y="67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0" y="227"/>
                  </a:lnTo>
                  <a:lnTo>
                    <a:pt x="57" y="233"/>
                  </a:lnTo>
                  <a:lnTo>
                    <a:pt x="55" y="239"/>
                  </a:lnTo>
                  <a:lnTo>
                    <a:pt x="54" y="245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60" y="263"/>
                  </a:lnTo>
                  <a:lnTo>
                    <a:pt x="63" y="268"/>
                  </a:lnTo>
                  <a:lnTo>
                    <a:pt x="63" y="268"/>
                  </a:lnTo>
                  <a:lnTo>
                    <a:pt x="81" y="288"/>
                  </a:lnTo>
                  <a:lnTo>
                    <a:pt x="100" y="307"/>
                  </a:lnTo>
                  <a:lnTo>
                    <a:pt x="100" y="307"/>
                  </a:lnTo>
                  <a:lnTo>
                    <a:pt x="111" y="318"/>
                  </a:lnTo>
                  <a:lnTo>
                    <a:pt x="124" y="332"/>
                  </a:lnTo>
                  <a:lnTo>
                    <a:pt x="130" y="339"/>
                  </a:lnTo>
                  <a:lnTo>
                    <a:pt x="133" y="346"/>
                  </a:lnTo>
                  <a:lnTo>
                    <a:pt x="136" y="353"/>
                  </a:lnTo>
                  <a:lnTo>
                    <a:pt x="139" y="360"/>
                  </a:lnTo>
                  <a:lnTo>
                    <a:pt x="139" y="360"/>
                  </a:lnTo>
                  <a:lnTo>
                    <a:pt x="142" y="387"/>
                  </a:lnTo>
                  <a:lnTo>
                    <a:pt x="147" y="415"/>
                  </a:lnTo>
                  <a:lnTo>
                    <a:pt x="150" y="430"/>
                  </a:lnTo>
                  <a:lnTo>
                    <a:pt x="154" y="443"/>
                  </a:lnTo>
                  <a:lnTo>
                    <a:pt x="159" y="455"/>
                  </a:lnTo>
                  <a:lnTo>
                    <a:pt x="165" y="466"/>
                  </a:lnTo>
                  <a:lnTo>
                    <a:pt x="165" y="466"/>
                  </a:lnTo>
                  <a:lnTo>
                    <a:pt x="152" y="472"/>
                  </a:lnTo>
                  <a:lnTo>
                    <a:pt x="142" y="480"/>
                  </a:lnTo>
                  <a:lnTo>
                    <a:pt x="133" y="490"/>
                  </a:lnTo>
                  <a:lnTo>
                    <a:pt x="123" y="501"/>
                  </a:lnTo>
                  <a:lnTo>
                    <a:pt x="123" y="501"/>
                  </a:lnTo>
                  <a:close/>
                  <a:moveTo>
                    <a:pt x="577" y="771"/>
                  </a:moveTo>
                  <a:lnTo>
                    <a:pt x="577" y="771"/>
                  </a:lnTo>
                  <a:lnTo>
                    <a:pt x="568" y="765"/>
                  </a:lnTo>
                  <a:lnTo>
                    <a:pt x="558" y="760"/>
                  </a:lnTo>
                  <a:lnTo>
                    <a:pt x="547" y="757"/>
                  </a:lnTo>
                  <a:lnTo>
                    <a:pt x="537" y="754"/>
                  </a:lnTo>
                  <a:lnTo>
                    <a:pt x="526" y="754"/>
                  </a:lnTo>
                  <a:lnTo>
                    <a:pt x="515" y="757"/>
                  </a:lnTo>
                  <a:lnTo>
                    <a:pt x="505" y="759"/>
                  </a:lnTo>
                  <a:lnTo>
                    <a:pt x="496" y="765"/>
                  </a:lnTo>
                  <a:lnTo>
                    <a:pt x="496" y="765"/>
                  </a:lnTo>
                  <a:lnTo>
                    <a:pt x="493" y="765"/>
                  </a:lnTo>
                  <a:lnTo>
                    <a:pt x="490" y="763"/>
                  </a:lnTo>
                  <a:lnTo>
                    <a:pt x="490" y="763"/>
                  </a:lnTo>
                  <a:lnTo>
                    <a:pt x="489" y="762"/>
                  </a:lnTo>
                  <a:lnTo>
                    <a:pt x="489" y="759"/>
                  </a:lnTo>
                  <a:lnTo>
                    <a:pt x="489" y="759"/>
                  </a:lnTo>
                  <a:lnTo>
                    <a:pt x="490" y="751"/>
                  </a:lnTo>
                  <a:lnTo>
                    <a:pt x="490" y="742"/>
                  </a:lnTo>
                  <a:lnTo>
                    <a:pt x="488" y="733"/>
                  </a:lnTo>
                  <a:lnTo>
                    <a:pt x="486" y="723"/>
                  </a:lnTo>
                  <a:lnTo>
                    <a:pt x="482" y="716"/>
                  </a:lnTo>
                  <a:lnTo>
                    <a:pt x="478" y="708"/>
                  </a:lnTo>
                  <a:lnTo>
                    <a:pt x="472" y="700"/>
                  </a:lnTo>
                  <a:lnTo>
                    <a:pt x="466" y="694"/>
                  </a:lnTo>
                  <a:lnTo>
                    <a:pt x="466" y="694"/>
                  </a:lnTo>
                  <a:lnTo>
                    <a:pt x="466" y="694"/>
                  </a:lnTo>
                  <a:lnTo>
                    <a:pt x="457" y="687"/>
                  </a:lnTo>
                  <a:lnTo>
                    <a:pt x="447" y="681"/>
                  </a:lnTo>
                  <a:lnTo>
                    <a:pt x="437" y="679"/>
                  </a:lnTo>
                  <a:lnTo>
                    <a:pt x="425" y="677"/>
                  </a:lnTo>
                  <a:lnTo>
                    <a:pt x="415" y="677"/>
                  </a:lnTo>
                  <a:lnTo>
                    <a:pt x="405" y="678"/>
                  </a:lnTo>
                  <a:lnTo>
                    <a:pt x="394" y="681"/>
                  </a:lnTo>
                  <a:lnTo>
                    <a:pt x="384" y="687"/>
                  </a:lnTo>
                  <a:lnTo>
                    <a:pt x="384" y="687"/>
                  </a:lnTo>
                  <a:lnTo>
                    <a:pt x="382" y="687"/>
                  </a:lnTo>
                  <a:lnTo>
                    <a:pt x="380" y="686"/>
                  </a:lnTo>
                  <a:lnTo>
                    <a:pt x="380" y="686"/>
                  </a:lnTo>
                  <a:lnTo>
                    <a:pt x="377" y="685"/>
                  </a:lnTo>
                  <a:lnTo>
                    <a:pt x="377" y="681"/>
                  </a:lnTo>
                  <a:lnTo>
                    <a:pt x="377" y="681"/>
                  </a:lnTo>
                  <a:lnTo>
                    <a:pt x="378" y="672"/>
                  </a:lnTo>
                  <a:lnTo>
                    <a:pt x="378" y="664"/>
                  </a:lnTo>
                  <a:lnTo>
                    <a:pt x="377" y="655"/>
                  </a:lnTo>
                  <a:lnTo>
                    <a:pt x="375" y="646"/>
                  </a:lnTo>
                  <a:lnTo>
                    <a:pt x="372" y="638"/>
                  </a:lnTo>
                  <a:lnTo>
                    <a:pt x="367" y="630"/>
                  </a:lnTo>
                  <a:lnTo>
                    <a:pt x="361" y="622"/>
                  </a:lnTo>
                  <a:lnTo>
                    <a:pt x="354" y="616"/>
                  </a:lnTo>
                  <a:lnTo>
                    <a:pt x="354" y="616"/>
                  </a:lnTo>
                  <a:lnTo>
                    <a:pt x="354" y="616"/>
                  </a:lnTo>
                  <a:lnTo>
                    <a:pt x="348" y="611"/>
                  </a:lnTo>
                  <a:lnTo>
                    <a:pt x="340" y="606"/>
                  </a:lnTo>
                  <a:lnTo>
                    <a:pt x="330" y="603"/>
                  </a:lnTo>
                  <a:lnTo>
                    <a:pt x="323" y="600"/>
                  </a:lnTo>
                  <a:lnTo>
                    <a:pt x="313" y="599"/>
                  </a:lnTo>
                  <a:lnTo>
                    <a:pt x="304" y="599"/>
                  </a:lnTo>
                  <a:lnTo>
                    <a:pt x="295" y="600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5" y="603"/>
                  </a:lnTo>
                  <a:lnTo>
                    <a:pt x="283" y="601"/>
                  </a:lnTo>
                  <a:lnTo>
                    <a:pt x="283" y="601"/>
                  </a:lnTo>
                  <a:lnTo>
                    <a:pt x="281" y="599"/>
                  </a:lnTo>
                  <a:lnTo>
                    <a:pt x="281" y="597"/>
                  </a:lnTo>
                  <a:lnTo>
                    <a:pt x="281" y="597"/>
                  </a:lnTo>
                  <a:lnTo>
                    <a:pt x="285" y="585"/>
                  </a:lnTo>
                  <a:lnTo>
                    <a:pt x="287" y="575"/>
                  </a:lnTo>
                  <a:lnTo>
                    <a:pt x="287" y="564"/>
                  </a:lnTo>
                  <a:lnTo>
                    <a:pt x="286" y="553"/>
                  </a:lnTo>
                  <a:lnTo>
                    <a:pt x="283" y="543"/>
                  </a:lnTo>
                  <a:lnTo>
                    <a:pt x="278" y="533"/>
                  </a:lnTo>
                  <a:lnTo>
                    <a:pt x="271" y="524"/>
                  </a:lnTo>
                  <a:lnTo>
                    <a:pt x="263" y="516"/>
                  </a:lnTo>
                  <a:lnTo>
                    <a:pt x="263" y="516"/>
                  </a:lnTo>
                  <a:lnTo>
                    <a:pt x="263" y="516"/>
                  </a:lnTo>
                  <a:lnTo>
                    <a:pt x="257" y="511"/>
                  </a:lnTo>
                  <a:lnTo>
                    <a:pt x="252" y="508"/>
                  </a:lnTo>
                  <a:lnTo>
                    <a:pt x="245" y="504"/>
                  </a:lnTo>
                  <a:lnTo>
                    <a:pt x="239" y="502"/>
                  </a:lnTo>
                  <a:lnTo>
                    <a:pt x="226" y="499"/>
                  </a:lnTo>
                  <a:lnTo>
                    <a:pt x="212" y="499"/>
                  </a:lnTo>
                  <a:lnTo>
                    <a:pt x="199" y="501"/>
                  </a:lnTo>
                  <a:lnTo>
                    <a:pt x="187" y="506"/>
                  </a:lnTo>
                  <a:lnTo>
                    <a:pt x="181" y="509"/>
                  </a:lnTo>
                  <a:lnTo>
                    <a:pt x="175" y="514"/>
                  </a:lnTo>
                  <a:lnTo>
                    <a:pt x="170" y="518"/>
                  </a:lnTo>
                  <a:lnTo>
                    <a:pt x="165" y="523"/>
                  </a:lnTo>
                  <a:lnTo>
                    <a:pt x="144" y="546"/>
                  </a:lnTo>
                  <a:lnTo>
                    <a:pt x="144" y="546"/>
                  </a:lnTo>
                  <a:lnTo>
                    <a:pt x="140" y="551"/>
                  </a:lnTo>
                  <a:lnTo>
                    <a:pt x="136" y="558"/>
                  </a:lnTo>
                  <a:lnTo>
                    <a:pt x="133" y="564"/>
                  </a:lnTo>
                  <a:lnTo>
                    <a:pt x="131" y="571"/>
                  </a:lnTo>
                  <a:lnTo>
                    <a:pt x="128" y="583"/>
                  </a:lnTo>
                  <a:lnTo>
                    <a:pt x="127" y="597"/>
                  </a:lnTo>
                  <a:lnTo>
                    <a:pt x="130" y="609"/>
                  </a:lnTo>
                  <a:lnTo>
                    <a:pt x="135" y="622"/>
                  </a:lnTo>
                  <a:lnTo>
                    <a:pt x="139" y="629"/>
                  </a:lnTo>
                  <a:lnTo>
                    <a:pt x="142" y="634"/>
                  </a:lnTo>
                  <a:lnTo>
                    <a:pt x="147" y="639"/>
                  </a:lnTo>
                  <a:lnTo>
                    <a:pt x="151" y="645"/>
                  </a:lnTo>
                  <a:lnTo>
                    <a:pt x="151" y="645"/>
                  </a:lnTo>
                  <a:lnTo>
                    <a:pt x="151" y="645"/>
                  </a:lnTo>
                  <a:lnTo>
                    <a:pt x="158" y="649"/>
                  </a:lnTo>
                  <a:lnTo>
                    <a:pt x="166" y="654"/>
                  </a:lnTo>
                  <a:lnTo>
                    <a:pt x="174" y="657"/>
                  </a:lnTo>
                  <a:lnTo>
                    <a:pt x="182" y="660"/>
                  </a:lnTo>
                  <a:lnTo>
                    <a:pt x="190" y="661"/>
                  </a:lnTo>
                  <a:lnTo>
                    <a:pt x="198" y="661"/>
                  </a:lnTo>
                  <a:lnTo>
                    <a:pt x="206" y="661"/>
                  </a:lnTo>
                  <a:lnTo>
                    <a:pt x="214" y="660"/>
                  </a:lnTo>
                  <a:lnTo>
                    <a:pt x="214" y="660"/>
                  </a:lnTo>
                  <a:lnTo>
                    <a:pt x="218" y="660"/>
                  </a:lnTo>
                  <a:lnTo>
                    <a:pt x="220" y="661"/>
                  </a:lnTo>
                  <a:lnTo>
                    <a:pt x="220" y="661"/>
                  </a:lnTo>
                  <a:lnTo>
                    <a:pt x="220" y="664"/>
                  </a:lnTo>
                  <a:lnTo>
                    <a:pt x="219" y="666"/>
                  </a:lnTo>
                  <a:lnTo>
                    <a:pt x="219" y="666"/>
                  </a:lnTo>
                  <a:lnTo>
                    <a:pt x="212" y="678"/>
                  </a:lnTo>
                  <a:lnTo>
                    <a:pt x="207" y="690"/>
                  </a:lnTo>
                  <a:lnTo>
                    <a:pt x="205" y="703"/>
                  </a:lnTo>
                  <a:lnTo>
                    <a:pt x="205" y="716"/>
                  </a:lnTo>
                  <a:lnTo>
                    <a:pt x="207" y="728"/>
                  </a:lnTo>
                  <a:lnTo>
                    <a:pt x="212" y="741"/>
                  </a:lnTo>
                  <a:lnTo>
                    <a:pt x="219" y="752"/>
                  </a:lnTo>
                  <a:lnTo>
                    <a:pt x="229" y="762"/>
                  </a:lnTo>
                  <a:lnTo>
                    <a:pt x="229" y="762"/>
                  </a:lnTo>
                  <a:lnTo>
                    <a:pt x="229" y="762"/>
                  </a:lnTo>
                  <a:lnTo>
                    <a:pt x="239" y="769"/>
                  </a:lnTo>
                  <a:lnTo>
                    <a:pt x="252" y="775"/>
                  </a:lnTo>
                  <a:lnTo>
                    <a:pt x="264" y="778"/>
                  </a:lnTo>
                  <a:lnTo>
                    <a:pt x="277" y="778"/>
                  </a:lnTo>
                  <a:lnTo>
                    <a:pt x="289" y="777"/>
                  </a:lnTo>
                  <a:lnTo>
                    <a:pt x="302" y="773"/>
                  </a:lnTo>
                  <a:lnTo>
                    <a:pt x="313" y="767"/>
                  </a:lnTo>
                  <a:lnTo>
                    <a:pt x="324" y="759"/>
                  </a:lnTo>
                  <a:lnTo>
                    <a:pt x="324" y="759"/>
                  </a:lnTo>
                  <a:lnTo>
                    <a:pt x="326" y="758"/>
                  </a:lnTo>
                  <a:lnTo>
                    <a:pt x="328" y="758"/>
                  </a:lnTo>
                  <a:lnTo>
                    <a:pt x="328" y="758"/>
                  </a:lnTo>
                  <a:lnTo>
                    <a:pt x="330" y="760"/>
                  </a:lnTo>
                  <a:lnTo>
                    <a:pt x="330" y="762"/>
                  </a:lnTo>
                  <a:lnTo>
                    <a:pt x="330" y="762"/>
                  </a:lnTo>
                  <a:lnTo>
                    <a:pt x="330" y="770"/>
                  </a:lnTo>
                  <a:lnTo>
                    <a:pt x="332" y="778"/>
                  </a:lnTo>
                  <a:lnTo>
                    <a:pt x="333" y="787"/>
                  </a:lnTo>
                  <a:lnTo>
                    <a:pt x="335" y="794"/>
                  </a:lnTo>
                  <a:lnTo>
                    <a:pt x="338" y="802"/>
                  </a:lnTo>
                  <a:lnTo>
                    <a:pt x="343" y="809"/>
                  </a:lnTo>
                  <a:lnTo>
                    <a:pt x="349" y="816"/>
                  </a:lnTo>
                  <a:lnTo>
                    <a:pt x="354" y="823"/>
                  </a:lnTo>
                  <a:lnTo>
                    <a:pt x="354" y="823"/>
                  </a:lnTo>
                  <a:lnTo>
                    <a:pt x="354" y="823"/>
                  </a:lnTo>
                  <a:lnTo>
                    <a:pt x="366" y="830"/>
                  </a:lnTo>
                  <a:lnTo>
                    <a:pt x="377" y="835"/>
                  </a:lnTo>
                  <a:lnTo>
                    <a:pt x="390" y="839"/>
                  </a:lnTo>
                  <a:lnTo>
                    <a:pt x="402" y="839"/>
                  </a:lnTo>
                  <a:lnTo>
                    <a:pt x="415" y="838"/>
                  </a:lnTo>
                  <a:lnTo>
                    <a:pt x="428" y="833"/>
                  </a:lnTo>
                  <a:lnTo>
                    <a:pt x="439" y="827"/>
                  </a:lnTo>
                  <a:lnTo>
                    <a:pt x="449" y="819"/>
                  </a:lnTo>
                  <a:lnTo>
                    <a:pt x="449" y="819"/>
                  </a:lnTo>
                  <a:lnTo>
                    <a:pt x="451" y="818"/>
                  </a:lnTo>
                  <a:lnTo>
                    <a:pt x="454" y="818"/>
                  </a:lnTo>
                  <a:lnTo>
                    <a:pt x="454" y="818"/>
                  </a:lnTo>
                  <a:lnTo>
                    <a:pt x="456" y="820"/>
                  </a:lnTo>
                  <a:lnTo>
                    <a:pt x="457" y="823"/>
                  </a:lnTo>
                  <a:lnTo>
                    <a:pt x="457" y="823"/>
                  </a:lnTo>
                  <a:lnTo>
                    <a:pt x="456" y="831"/>
                  </a:lnTo>
                  <a:lnTo>
                    <a:pt x="457" y="839"/>
                  </a:lnTo>
                  <a:lnTo>
                    <a:pt x="458" y="848"/>
                  </a:lnTo>
                  <a:lnTo>
                    <a:pt x="462" y="855"/>
                  </a:lnTo>
                  <a:lnTo>
                    <a:pt x="465" y="863"/>
                  </a:lnTo>
                  <a:lnTo>
                    <a:pt x="469" y="870"/>
                  </a:lnTo>
                  <a:lnTo>
                    <a:pt x="474" y="876"/>
                  </a:lnTo>
                  <a:lnTo>
                    <a:pt x="481" y="883"/>
                  </a:lnTo>
                  <a:lnTo>
                    <a:pt x="481" y="883"/>
                  </a:lnTo>
                  <a:lnTo>
                    <a:pt x="486" y="887"/>
                  </a:lnTo>
                  <a:lnTo>
                    <a:pt x="493" y="891"/>
                  </a:lnTo>
                  <a:lnTo>
                    <a:pt x="498" y="893"/>
                  </a:lnTo>
                  <a:lnTo>
                    <a:pt x="505" y="896"/>
                  </a:lnTo>
                  <a:lnTo>
                    <a:pt x="518" y="899"/>
                  </a:lnTo>
                  <a:lnTo>
                    <a:pt x="531" y="899"/>
                  </a:lnTo>
                  <a:lnTo>
                    <a:pt x="545" y="897"/>
                  </a:lnTo>
                  <a:lnTo>
                    <a:pt x="558" y="892"/>
                  </a:lnTo>
                  <a:lnTo>
                    <a:pt x="563" y="889"/>
                  </a:lnTo>
                  <a:lnTo>
                    <a:pt x="569" y="885"/>
                  </a:lnTo>
                  <a:lnTo>
                    <a:pt x="574" y="881"/>
                  </a:lnTo>
                  <a:lnTo>
                    <a:pt x="579" y="875"/>
                  </a:lnTo>
                  <a:lnTo>
                    <a:pt x="584" y="870"/>
                  </a:lnTo>
                  <a:lnTo>
                    <a:pt x="584" y="870"/>
                  </a:lnTo>
                  <a:lnTo>
                    <a:pt x="588" y="864"/>
                  </a:lnTo>
                  <a:lnTo>
                    <a:pt x="592" y="858"/>
                  </a:lnTo>
                  <a:lnTo>
                    <a:pt x="595" y="851"/>
                  </a:lnTo>
                  <a:lnTo>
                    <a:pt x="598" y="846"/>
                  </a:lnTo>
                  <a:lnTo>
                    <a:pt x="601" y="832"/>
                  </a:lnTo>
                  <a:lnTo>
                    <a:pt x="601" y="819"/>
                  </a:lnTo>
                  <a:lnTo>
                    <a:pt x="599" y="806"/>
                  </a:lnTo>
                  <a:lnTo>
                    <a:pt x="594" y="793"/>
                  </a:lnTo>
                  <a:lnTo>
                    <a:pt x="591" y="787"/>
                  </a:lnTo>
                  <a:lnTo>
                    <a:pt x="586" y="782"/>
                  </a:lnTo>
                  <a:lnTo>
                    <a:pt x="582" y="776"/>
                  </a:lnTo>
                  <a:lnTo>
                    <a:pt x="577" y="771"/>
                  </a:lnTo>
                  <a:lnTo>
                    <a:pt x="577" y="771"/>
                  </a:lnTo>
                  <a:close/>
                  <a:moveTo>
                    <a:pt x="764" y="245"/>
                  </a:moveTo>
                  <a:lnTo>
                    <a:pt x="764" y="245"/>
                  </a:lnTo>
                  <a:lnTo>
                    <a:pt x="947" y="421"/>
                  </a:lnTo>
                  <a:lnTo>
                    <a:pt x="947" y="421"/>
                  </a:lnTo>
                  <a:lnTo>
                    <a:pt x="954" y="426"/>
                  </a:lnTo>
                  <a:lnTo>
                    <a:pt x="960" y="429"/>
                  </a:lnTo>
                  <a:lnTo>
                    <a:pt x="968" y="431"/>
                  </a:lnTo>
                  <a:lnTo>
                    <a:pt x="978" y="430"/>
                  </a:lnTo>
                  <a:lnTo>
                    <a:pt x="978" y="430"/>
                  </a:lnTo>
                  <a:lnTo>
                    <a:pt x="986" y="428"/>
                  </a:lnTo>
                  <a:lnTo>
                    <a:pt x="992" y="425"/>
                  </a:lnTo>
                  <a:lnTo>
                    <a:pt x="999" y="419"/>
                  </a:lnTo>
                  <a:lnTo>
                    <a:pt x="1004" y="412"/>
                  </a:lnTo>
                  <a:lnTo>
                    <a:pt x="1004" y="412"/>
                  </a:lnTo>
                  <a:lnTo>
                    <a:pt x="1014" y="393"/>
                  </a:lnTo>
                  <a:lnTo>
                    <a:pt x="1022" y="372"/>
                  </a:lnTo>
                  <a:lnTo>
                    <a:pt x="1028" y="350"/>
                  </a:lnTo>
                  <a:lnTo>
                    <a:pt x="1034" y="328"/>
                  </a:lnTo>
                  <a:lnTo>
                    <a:pt x="1034" y="328"/>
                  </a:lnTo>
                  <a:lnTo>
                    <a:pt x="1036" y="317"/>
                  </a:lnTo>
                  <a:lnTo>
                    <a:pt x="1039" y="308"/>
                  </a:lnTo>
                  <a:lnTo>
                    <a:pt x="1045" y="300"/>
                  </a:lnTo>
                  <a:lnTo>
                    <a:pt x="1051" y="292"/>
                  </a:lnTo>
                  <a:lnTo>
                    <a:pt x="1083" y="258"/>
                  </a:lnTo>
                  <a:lnTo>
                    <a:pt x="1083" y="258"/>
                  </a:lnTo>
                  <a:lnTo>
                    <a:pt x="1092" y="248"/>
                  </a:lnTo>
                  <a:lnTo>
                    <a:pt x="1097" y="236"/>
                  </a:lnTo>
                  <a:lnTo>
                    <a:pt x="1101" y="224"/>
                  </a:lnTo>
                  <a:lnTo>
                    <a:pt x="1102" y="211"/>
                  </a:lnTo>
                  <a:lnTo>
                    <a:pt x="1101" y="200"/>
                  </a:lnTo>
                  <a:lnTo>
                    <a:pt x="1097" y="187"/>
                  </a:lnTo>
                  <a:lnTo>
                    <a:pt x="1092" y="176"/>
                  </a:lnTo>
                  <a:lnTo>
                    <a:pt x="1084" y="166"/>
                  </a:lnTo>
                  <a:lnTo>
                    <a:pt x="952" y="22"/>
                  </a:lnTo>
                  <a:lnTo>
                    <a:pt x="952" y="22"/>
                  </a:lnTo>
                  <a:lnTo>
                    <a:pt x="942" y="13"/>
                  </a:lnTo>
                  <a:lnTo>
                    <a:pt x="932" y="7"/>
                  </a:lnTo>
                  <a:lnTo>
                    <a:pt x="919" y="2"/>
                  </a:lnTo>
                  <a:lnTo>
                    <a:pt x="907" y="0"/>
                  </a:lnTo>
                  <a:lnTo>
                    <a:pt x="894" y="0"/>
                  </a:lnTo>
                  <a:lnTo>
                    <a:pt x="882" y="2"/>
                  </a:lnTo>
                  <a:lnTo>
                    <a:pt x="870" y="7"/>
                  </a:lnTo>
                  <a:lnTo>
                    <a:pt x="859" y="15"/>
                  </a:lnTo>
                  <a:lnTo>
                    <a:pt x="828" y="40"/>
                  </a:lnTo>
                  <a:lnTo>
                    <a:pt x="828" y="40"/>
                  </a:lnTo>
                  <a:lnTo>
                    <a:pt x="817" y="47"/>
                  </a:lnTo>
                  <a:lnTo>
                    <a:pt x="810" y="50"/>
                  </a:lnTo>
                  <a:lnTo>
                    <a:pt x="804" y="53"/>
                  </a:lnTo>
                  <a:lnTo>
                    <a:pt x="797" y="54"/>
                  </a:lnTo>
                  <a:lnTo>
                    <a:pt x="790" y="55"/>
                  </a:lnTo>
                  <a:lnTo>
                    <a:pt x="777" y="55"/>
                  </a:lnTo>
                  <a:lnTo>
                    <a:pt x="777" y="55"/>
                  </a:lnTo>
                  <a:lnTo>
                    <a:pt x="679" y="42"/>
                  </a:lnTo>
                  <a:lnTo>
                    <a:pt x="679" y="42"/>
                  </a:lnTo>
                  <a:lnTo>
                    <a:pt x="657" y="41"/>
                  </a:lnTo>
                  <a:lnTo>
                    <a:pt x="634" y="41"/>
                  </a:lnTo>
                  <a:lnTo>
                    <a:pt x="612" y="44"/>
                  </a:lnTo>
                  <a:lnTo>
                    <a:pt x="592" y="48"/>
                  </a:lnTo>
                  <a:lnTo>
                    <a:pt x="571" y="55"/>
                  </a:lnTo>
                  <a:lnTo>
                    <a:pt x="551" y="64"/>
                  </a:lnTo>
                  <a:lnTo>
                    <a:pt x="531" y="74"/>
                  </a:lnTo>
                  <a:lnTo>
                    <a:pt x="513" y="88"/>
                  </a:lnTo>
                  <a:lnTo>
                    <a:pt x="513" y="88"/>
                  </a:lnTo>
                  <a:lnTo>
                    <a:pt x="416" y="162"/>
                  </a:lnTo>
                  <a:lnTo>
                    <a:pt x="319" y="237"/>
                  </a:lnTo>
                  <a:lnTo>
                    <a:pt x="319" y="237"/>
                  </a:lnTo>
                  <a:lnTo>
                    <a:pt x="309" y="247"/>
                  </a:lnTo>
                  <a:lnTo>
                    <a:pt x="302" y="257"/>
                  </a:lnTo>
                  <a:lnTo>
                    <a:pt x="297" y="267"/>
                  </a:lnTo>
                  <a:lnTo>
                    <a:pt x="296" y="276"/>
                  </a:lnTo>
                  <a:lnTo>
                    <a:pt x="297" y="287"/>
                  </a:lnTo>
                  <a:lnTo>
                    <a:pt x="301" y="296"/>
                  </a:lnTo>
                  <a:lnTo>
                    <a:pt x="307" y="304"/>
                  </a:lnTo>
                  <a:lnTo>
                    <a:pt x="313" y="310"/>
                  </a:lnTo>
                  <a:lnTo>
                    <a:pt x="321" y="316"/>
                  </a:lnTo>
                  <a:lnTo>
                    <a:pt x="332" y="322"/>
                  </a:lnTo>
                  <a:lnTo>
                    <a:pt x="343" y="324"/>
                  </a:lnTo>
                  <a:lnTo>
                    <a:pt x="356" y="326"/>
                  </a:lnTo>
                  <a:lnTo>
                    <a:pt x="369" y="325"/>
                  </a:lnTo>
                  <a:lnTo>
                    <a:pt x="383" y="323"/>
                  </a:lnTo>
                  <a:lnTo>
                    <a:pt x="397" y="318"/>
                  </a:lnTo>
                  <a:lnTo>
                    <a:pt x="412" y="310"/>
                  </a:lnTo>
                  <a:lnTo>
                    <a:pt x="552" y="224"/>
                  </a:lnTo>
                  <a:lnTo>
                    <a:pt x="552" y="224"/>
                  </a:lnTo>
                  <a:lnTo>
                    <a:pt x="560" y="219"/>
                  </a:lnTo>
                  <a:lnTo>
                    <a:pt x="568" y="216"/>
                  </a:lnTo>
                  <a:lnTo>
                    <a:pt x="576" y="215"/>
                  </a:lnTo>
                  <a:lnTo>
                    <a:pt x="584" y="214"/>
                  </a:lnTo>
                  <a:lnTo>
                    <a:pt x="592" y="214"/>
                  </a:lnTo>
                  <a:lnTo>
                    <a:pt x="600" y="214"/>
                  </a:lnTo>
                  <a:lnTo>
                    <a:pt x="608" y="216"/>
                  </a:lnTo>
                  <a:lnTo>
                    <a:pt x="616" y="219"/>
                  </a:lnTo>
                  <a:lnTo>
                    <a:pt x="616" y="219"/>
                  </a:lnTo>
                  <a:lnTo>
                    <a:pt x="626" y="223"/>
                  </a:lnTo>
                  <a:lnTo>
                    <a:pt x="638" y="226"/>
                  </a:lnTo>
                  <a:lnTo>
                    <a:pt x="649" y="228"/>
                  </a:lnTo>
                  <a:lnTo>
                    <a:pt x="660" y="229"/>
                  </a:lnTo>
                  <a:lnTo>
                    <a:pt x="672" y="231"/>
                  </a:lnTo>
                  <a:lnTo>
                    <a:pt x="683" y="231"/>
                  </a:lnTo>
                  <a:lnTo>
                    <a:pt x="695" y="229"/>
                  </a:lnTo>
                  <a:lnTo>
                    <a:pt x="705" y="228"/>
                  </a:lnTo>
                  <a:lnTo>
                    <a:pt x="705" y="228"/>
                  </a:lnTo>
                  <a:lnTo>
                    <a:pt x="713" y="227"/>
                  </a:lnTo>
                  <a:lnTo>
                    <a:pt x="721" y="227"/>
                  </a:lnTo>
                  <a:lnTo>
                    <a:pt x="729" y="227"/>
                  </a:lnTo>
                  <a:lnTo>
                    <a:pt x="737" y="229"/>
                  </a:lnTo>
                  <a:lnTo>
                    <a:pt x="744" y="232"/>
                  </a:lnTo>
                  <a:lnTo>
                    <a:pt x="750" y="236"/>
                  </a:lnTo>
                  <a:lnTo>
                    <a:pt x="757" y="241"/>
                  </a:lnTo>
                  <a:lnTo>
                    <a:pt x="764" y="245"/>
                  </a:lnTo>
                  <a:lnTo>
                    <a:pt x="764" y="24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ko-KR" altLang="en-US" sz="14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sp>
        <p:nvSpPr>
          <p:cNvPr id="2" name="Text Placeholder 9"/>
          <p:cNvSpPr txBox="1"/>
          <p:nvPr/>
        </p:nvSpPr>
        <p:spPr>
          <a:xfrm>
            <a:off x="1934845" y="902970"/>
            <a:ext cx="1783715" cy="36258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zh-CN" altLang="en-US" sz="15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后的两点改变：</a:t>
            </a:r>
            <a:endParaRPr lang="zh-CN" altLang="en-US" sz="15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307590" y="1456055"/>
            <a:ext cx="521652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游戏材料方面（</a:t>
            </a:r>
            <a:r>
              <a:rPr lang="zh-CN" altLang="en-US">
                <a:sym typeface="+mn-ea"/>
              </a:rPr>
              <a:t>女生居多</a:t>
            </a:r>
            <a:r>
              <a:rPr lang="en-US" altLang="zh-CN">
                <a:sym typeface="+mn-ea"/>
              </a:rPr>
              <a:t>→</a:t>
            </a:r>
            <a:r>
              <a:rPr lang="zh-CN" altLang="en-US">
                <a:sym typeface="+mn-ea"/>
              </a:rPr>
              <a:t>男女平衡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彩纸做花</a:t>
            </a:r>
            <a:r>
              <a:rPr lang="en-US" altLang="zh-CN"/>
              <a:t>→</a:t>
            </a:r>
            <a:r>
              <a:rPr lang="zh-CN" altLang="en-US"/>
              <a:t>牙膏盒做汽车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212975" y="3282315"/>
            <a:ext cx="531114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环境方面（材料分类，适当增添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季节性材料：盆栽秋菊、麦穗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815056" y="2057566"/>
            <a:ext cx="434594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2</a:t>
            </a:r>
            <a:r>
              <a:rPr lang="zh-CN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回归现场</a:t>
            </a:r>
            <a:r>
              <a:rPr lang="en-US" altLang="zh-CN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—</a:t>
            </a:r>
            <a:r>
              <a:rPr lang="zh-CN" altLang="en-US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发现、交流</a:t>
            </a:r>
            <a:endParaRPr lang="zh-CN" altLang="en-US" sz="240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/>
          <p:nvPr/>
        </p:nvSpPr>
        <p:spPr>
          <a:xfrm>
            <a:off x="6640195" y="510540"/>
            <a:ext cx="1775460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焦点回顾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57"/>
          <p:cNvGrpSpPr/>
          <p:nvPr/>
        </p:nvGrpSpPr>
        <p:grpSpPr>
          <a:xfrm>
            <a:off x="1589031" y="1221601"/>
            <a:ext cx="3054563" cy="2712179"/>
            <a:chOff x="5625793" y="1599766"/>
            <a:chExt cx="4594903" cy="4080928"/>
          </a:xfrm>
          <a:solidFill>
            <a:srgbClr val="DC4415"/>
          </a:solidFill>
        </p:grpSpPr>
        <p:grpSp>
          <p:nvGrpSpPr>
            <p:cNvPr id="15" name="Group 58"/>
            <p:cNvGrpSpPr/>
            <p:nvPr/>
          </p:nvGrpSpPr>
          <p:grpSpPr>
            <a:xfrm>
              <a:off x="6191250" y="1599766"/>
              <a:ext cx="3473482" cy="1069614"/>
              <a:chOff x="6191250" y="1599766"/>
              <a:chExt cx="3473482" cy="1069614"/>
            </a:xfrm>
            <a:grpFill/>
          </p:grpSpPr>
          <p:sp>
            <p:nvSpPr>
              <p:cNvPr id="21" name="Freeform 64"/>
              <p:cNvSpPr/>
              <p:nvPr/>
            </p:nvSpPr>
            <p:spPr bwMode="auto">
              <a:xfrm>
                <a:off x="6191250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" name="Freeform 65"/>
              <p:cNvSpPr/>
              <p:nvPr/>
            </p:nvSpPr>
            <p:spPr bwMode="auto">
              <a:xfrm flipH="1">
                <a:off x="804310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" name="Group 59"/>
            <p:cNvGrpSpPr/>
            <p:nvPr/>
          </p:nvGrpSpPr>
          <p:grpSpPr>
            <a:xfrm flipV="1">
              <a:off x="6191251" y="4611080"/>
              <a:ext cx="3473482" cy="1069614"/>
              <a:chOff x="6191251" y="1599766"/>
              <a:chExt cx="3473482" cy="1069614"/>
            </a:xfrm>
            <a:grpFill/>
          </p:grpSpPr>
          <p:sp>
            <p:nvSpPr>
              <p:cNvPr id="19" name="Freeform 62"/>
              <p:cNvSpPr/>
              <p:nvPr/>
            </p:nvSpPr>
            <p:spPr bwMode="auto">
              <a:xfrm>
                <a:off x="619125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0" name="Freeform 63"/>
              <p:cNvSpPr/>
              <p:nvPr/>
            </p:nvSpPr>
            <p:spPr bwMode="auto">
              <a:xfrm flipH="1">
                <a:off x="8043102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" name="Freeform 60"/>
            <p:cNvSpPr/>
            <p:nvPr/>
          </p:nvSpPr>
          <p:spPr bwMode="auto">
            <a:xfrm rot="17954294">
              <a:off x="5349784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9135" fontAlgn="base">
                <a:spcBef>
                  <a:spcPct val="0"/>
                </a:spcBef>
                <a:spcAft>
                  <a:spcPct val="0"/>
                </a:spcAft>
              </a:pPr>
              <a:endParaRPr lang="en-US" sz="240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18" name="Freeform 61"/>
            <p:cNvSpPr/>
            <p:nvPr/>
          </p:nvSpPr>
          <p:spPr bwMode="auto">
            <a:xfrm rot="3645706" flipH="1">
              <a:off x="8875073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9135" fontAlgn="base">
                <a:spcBef>
                  <a:spcPct val="0"/>
                </a:spcBef>
                <a:spcAft>
                  <a:spcPct val="0"/>
                </a:spcAft>
              </a:pPr>
              <a:endParaRPr lang="en-US" sz="240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sp>
        <p:nvSpPr>
          <p:cNvPr id="23" name="TextBox 40"/>
          <p:cNvSpPr txBox="1"/>
          <p:nvPr/>
        </p:nvSpPr>
        <p:spPr>
          <a:xfrm>
            <a:off x="5943280" y="1512559"/>
            <a:ext cx="1581134" cy="37274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98500" fontAlgn="base">
              <a:lnSpc>
                <a:spcPct val="90000"/>
              </a:lnSpc>
              <a:spcBef>
                <a:spcPct val="0"/>
              </a:spcBef>
              <a:spcAft>
                <a:spcPts val="460"/>
              </a:spcAft>
              <a:buClr>
                <a:srgbClr val="FFFFFF"/>
              </a:buClr>
            </a:pPr>
            <a:r>
              <a:rPr lang="zh-CN" sz="135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  <a:sym typeface="Wingdings" panose="05000000000000000000" pitchFamily="2" charset="2"/>
              </a:rPr>
              <a:t>幼儿使用了剪、卷的技能</a:t>
            </a:r>
            <a:endParaRPr lang="zh-CN" sz="1350" spc="-38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  <a:sym typeface="Wingdings" panose="05000000000000000000" pitchFamily="2" charset="2"/>
            </a:endParaRPr>
          </a:p>
        </p:txBody>
      </p:sp>
      <p:sp>
        <p:nvSpPr>
          <p:cNvPr id="24" name="TextBox 42"/>
          <p:cNvSpPr txBox="1"/>
          <p:nvPr/>
        </p:nvSpPr>
        <p:spPr>
          <a:xfrm>
            <a:off x="5976156" y="2572210"/>
            <a:ext cx="1548258" cy="1860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98500" fontAlgn="base">
              <a:lnSpc>
                <a:spcPct val="90000"/>
              </a:lnSpc>
              <a:spcBef>
                <a:spcPct val="0"/>
              </a:spcBef>
              <a:spcAft>
                <a:spcPts val="460"/>
              </a:spcAft>
              <a:buClr>
                <a:srgbClr val="FFFFFF"/>
              </a:buClr>
            </a:pPr>
            <a:r>
              <a:rPr lang="zh-CN" sz="135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  <a:sym typeface="Wingdings" panose="05000000000000000000" pitchFamily="2" charset="2"/>
              </a:rPr>
              <a:t>活动中比较专注</a:t>
            </a:r>
            <a:endParaRPr lang="zh-CN" sz="1350" spc="-38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  <a:sym typeface="Wingdings" panose="05000000000000000000" pitchFamily="2" charset="2"/>
            </a:endParaRPr>
          </a:p>
        </p:txBody>
      </p:sp>
      <p:sp>
        <p:nvSpPr>
          <p:cNvPr id="25" name="TextBox 43"/>
          <p:cNvSpPr txBox="1"/>
          <p:nvPr/>
        </p:nvSpPr>
        <p:spPr>
          <a:xfrm>
            <a:off x="5952469" y="3465640"/>
            <a:ext cx="1431239" cy="55943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98500" fontAlgn="base">
              <a:lnSpc>
                <a:spcPct val="90000"/>
              </a:lnSpc>
              <a:spcBef>
                <a:spcPct val="0"/>
              </a:spcBef>
              <a:spcAft>
                <a:spcPts val="460"/>
              </a:spcAft>
              <a:buClr>
                <a:srgbClr val="FFFFFF"/>
              </a:buClr>
            </a:pPr>
            <a:r>
              <a:rPr lang="zh-CN" sz="135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  <a:sym typeface="Wingdings" panose="05000000000000000000" pitchFamily="2" charset="2"/>
              </a:rPr>
              <a:t>每一个花瓣都能卷</a:t>
            </a:r>
            <a:r>
              <a:rPr lang="en-US" altLang="zh-CN" sz="135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  <a:sym typeface="Wingdings" panose="05000000000000000000" pitchFamily="2" charset="2"/>
              </a:rPr>
              <a:t>2</a:t>
            </a:r>
            <a:r>
              <a:rPr lang="zh-CN" altLang="en-US" sz="135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  <a:sym typeface="Wingdings" panose="05000000000000000000" pitchFamily="2" charset="2"/>
              </a:rPr>
              <a:t>下，活动持久性比较好</a:t>
            </a:r>
            <a:endParaRPr lang="zh-CN" altLang="en-US" sz="1350" spc="-38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  <a:sym typeface="Wingdings" panose="05000000000000000000" pitchFamily="2" charset="2"/>
            </a:endParaRPr>
          </a:p>
        </p:txBody>
      </p:sp>
      <p:grpSp>
        <p:nvGrpSpPr>
          <p:cNvPr id="26" name="Group 90"/>
          <p:cNvGrpSpPr/>
          <p:nvPr/>
        </p:nvGrpSpPr>
        <p:grpSpPr>
          <a:xfrm>
            <a:off x="5187196" y="2373548"/>
            <a:ext cx="633846" cy="562947"/>
            <a:chOff x="8698531" y="2391463"/>
            <a:chExt cx="828966" cy="736049"/>
          </a:xfrm>
          <a:solidFill>
            <a:schemeClr val="bg2"/>
          </a:solidFill>
        </p:grpSpPr>
        <p:sp>
          <p:nvSpPr>
            <p:cNvPr id="27" name="Freeform 237"/>
            <p:cNvSpPr>
              <a:spLocks noChangeAspect="1"/>
            </p:cNvSpPr>
            <p:nvPr/>
          </p:nvSpPr>
          <p:spPr bwMode="auto">
            <a:xfrm>
              <a:off x="8933547" y="2599629"/>
              <a:ext cx="358934" cy="319717"/>
            </a:xfrm>
            <a:custGeom>
              <a:avLst/>
              <a:gdLst>
                <a:gd name="T0" fmla="*/ 95 w 95"/>
                <a:gd name="T1" fmla="*/ 85 h 85"/>
                <a:gd name="T2" fmla="*/ 0 w 95"/>
                <a:gd name="T3" fmla="*/ 85 h 85"/>
                <a:gd name="T4" fmla="*/ 0 w 95"/>
                <a:gd name="T5" fmla="*/ 76 h 85"/>
                <a:gd name="T6" fmla="*/ 5 w 95"/>
                <a:gd name="T7" fmla="*/ 67 h 85"/>
                <a:gd name="T8" fmla="*/ 36 w 95"/>
                <a:gd name="T9" fmla="*/ 54 h 85"/>
                <a:gd name="T10" fmla="*/ 38 w 95"/>
                <a:gd name="T11" fmla="*/ 51 h 85"/>
                <a:gd name="T12" fmla="*/ 36 w 95"/>
                <a:gd name="T13" fmla="*/ 47 h 85"/>
                <a:gd name="T14" fmla="*/ 48 w 95"/>
                <a:gd name="T15" fmla="*/ 0 h 85"/>
                <a:gd name="T16" fmla="*/ 59 w 95"/>
                <a:gd name="T17" fmla="*/ 47 h 85"/>
                <a:gd name="T18" fmla="*/ 57 w 95"/>
                <a:gd name="T19" fmla="*/ 51 h 85"/>
                <a:gd name="T20" fmla="*/ 59 w 95"/>
                <a:gd name="T21" fmla="*/ 54 h 85"/>
                <a:gd name="T22" fmla="*/ 91 w 95"/>
                <a:gd name="T23" fmla="*/ 67 h 85"/>
                <a:gd name="T24" fmla="*/ 95 w 95"/>
                <a:gd name="T25" fmla="*/ 76 h 85"/>
                <a:gd name="T26" fmla="*/ 95 w 95"/>
                <a:gd name="T2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85">
                  <a:moveTo>
                    <a:pt x="95" y="85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82"/>
                    <a:pt x="0" y="79"/>
                    <a:pt x="0" y="76"/>
                  </a:cubicBezTo>
                  <a:cubicBezTo>
                    <a:pt x="0" y="72"/>
                    <a:pt x="1" y="70"/>
                    <a:pt x="5" y="67"/>
                  </a:cubicBezTo>
                  <a:cubicBezTo>
                    <a:pt x="12" y="61"/>
                    <a:pt x="24" y="57"/>
                    <a:pt x="36" y="54"/>
                  </a:cubicBezTo>
                  <a:cubicBezTo>
                    <a:pt x="38" y="53"/>
                    <a:pt x="38" y="53"/>
                    <a:pt x="38" y="51"/>
                  </a:cubicBezTo>
                  <a:cubicBezTo>
                    <a:pt x="38" y="49"/>
                    <a:pt x="38" y="49"/>
                    <a:pt x="36" y="47"/>
                  </a:cubicBezTo>
                  <a:cubicBezTo>
                    <a:pt x="23" y="36"/>
                    <a:pt x="24" y="2"/>
                    <a:pt x="48" y="0"/>
                  </a:cubicBezTo>
                  <a:cubicBezTo>
                    <a:pt x="71" y="2"/>
                    <a:pt x="72" y="36"/>
                    <a:pt x="59" y="47"/>
                  </a:cubicBezTo>
                  <a:cubicBezTo>
                    <a:pt x="57" y="49"/>
                    <a:pt x="57" y="49"/>
                    <a:pt x="57" y="51"/>
                  </a:cubicBezTo>
                  <a:cubicBezTo>
                    <a:pt x="57" y="53"/>
                    <a:pt x="57" y="53"/>
                    <a:pt x="59" y="54"/>
                  </a:cubicBezTo>
                  <a:cubicBezTo>
                    <a:pt x="71" y="57"/>
                    <a:pt x="83" y="61"/>
                    <a:pt x="91" y="67"/>
                  </a:cubicBezTo>
                  <a:cubicBezTo>
                    <a:pt x="94" y="70"/>
                    <a:pt x="95" y="72"/>
                    <a:pt x="95" y="76"/>
                  </a:cubicBezTo>
                  <a:cubicBezTo>
                    <a:pt x="95" y="79"/>
                    <a:pt x="95" y="82"/>
                    <a:pt x="95" y="85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9135" fontAlgn="base">
                <a:spcBef>
                  <a:spcPct val="0"/>
                </a:spcBef>
                <a:spcAft>
                  <a:spcPct val="0"/>
                </a:spcAft>
              </a:pPr>
              <a:endParaRPr lang="en-US" sz="1350" b="1" spc="-38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grpSp>
          <p:nvGrpSpPr>
            <p:cNvPr id="28" name="Group 92"/>
            <p:cNvGrpSpPr/>
            <p:nvPr/>
          </p:nvGrpSpPr>
          <p:grpSpPr>
            <a:xfrm>
              <a:off x="8698531" y="2391463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29" name="Group 93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35" name="Freeform 99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6" name="Freeform 100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0" name="Group 94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33" name="Freeform 97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4" name="Freeform 98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31" name="Freeform 95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Freeform 96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37" name="Group 101"/>
          <p:cNvGrpSpPr/>
          <p:nvPr/>
        </p:nvGrpSpPr>
        <p:grpSpPr>
          <a:xfrm>
            <a:off x="5187196" y="3476555"/>
            <a:ext cx="633846" cy="562947"/>
            <a:chOff x="8698531" y="3979675"/>
            <a:chExt cx="828966" cy="736049"/>
          </a:xfrm>
          <a:solidFill>
            <a:schemeClr val="tx2"/>
          </a:solidFill>
        </p:grpSpPr>
        <p:sp>
          <p:nvSpPr>
            <p:cNvPr id="38" name="Freeform 100"/>
            <p:cNvSpPr>
              <a:spLocks noEditPoints="1"/>
            </p:cNvSpPr>
            <p:nvPr/>
          </p:nvSpPr>
          <p:spPr bwMode="black">
            <a:xfrm>
              <a:off x="8957393" y="4225167"/>
              <a:ext cx="371203" cy="245065"/>
            </a:xfrm>
            <a:custGeom>
              <a:avLst/>
              <a:gdLst>
                <a:gd name="T0" fmla="*/ 103 w 103"/>
                <a:gd name="T1" fmla="*/ 33 h 68"/>
                <a:gd name="T2" fmla="*/ 56 w 103"/>
                <a:gd name="T3" fmla="*/ 68 h 68"/>
                <a:gd name="T4" fmla="*/ 56 w 103"/>
                <a:gd name="T5" fmla="*/ 0 h 68"/>
                <a:gd name="T6" fmla="*/ 103 w 103"/>
                <a:gd name="T7" fmla="*/ 33 h 68"/>
                <a:gd name="T8" fmla="*/ 0 w 103"/>
                <a:gd name="T9" fmla="*/ 0 h 68"/>
                <a:gd name="T10" fmla="*/ 0 w 103"/>
                <a:gd name="T11" fmla="*/ 68 h 68"/>
                <a:gd name="T12" fmla="*/ 47 w 103"/>
                <a:gd name="T13" fmla="*/ 33 h 68"/>
                <a:gd name="T14" fmla="*/ 0 w 103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68">
                  <a:moveTo>
                    <a:pt x="103" y="33"/>
                  </a:moveTo>
                  <a:lnTo>
                    <a:pt x="56" y="68"/>
                  </a:lnTo>
                  <a:lnTo>
                    <a:pt x="56" y="0"/>
                  </a:lnTo>
                  <a:lnTo>
                    <a:pt x="103" y="33"/>
                  </a:lnTo>
                  <a:close/>
                  <a:moveTo>
                    <a:pt x="0" y="0"/>
                  </a:moveTo>
                  <a:lnTo>
                    <a:pt x="0" y="68"/>
                  </a:lnTo>
                  <a:lnTo>
                    <a:pt x="47" y="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9135" fontAlgn="base">
                <a:spcBef>
                  <a:spcPct val="0"/>
                </a:spcBef>
                <a:spcAft>
                  <a:spcPct val="0"/>
                </a:spcAft>
              </a:pPr>
              <a:endParaRPr lang="en-US" sz="1350" b="1" spc="-38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grpSp>
          <p:nvGrpSpPr>
            <p:cNvPr id="39" name="Group 103"/>
            <p:cNvGrpSpPr/>
            <p:nvPr/>
          </p:nvGrpSpPr>
          <p:grpSpPr>
            <a:xfrm>
              <a:off x="8698531" y="3979675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40" name="Group 104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46" name="Freeform 11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7" name="Freeform 111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41" name="Group 105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44" name="Freeform 108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5" name="Freeform 109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42" name="Freeform 106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Freeform 107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48" name="Right Brace 112"/>
          <p:cNvSpPr/>
          <p:nvPr/>
        </p:nvSpPr>
        <p:spPr>
          <a:xfrm rot="10800000">
            <a:off x="4613367" y="1520181"/>
            <a:ext cx="427545" cy="2258569"/>
          </a:xfrm>
          <a:prstGeom prst="rightBrace">
            <a:avLst>
              <a:gd name="adj1" fmla="val 47292"/>
              <a:gd name="adj2" fmla="val 50110"/>
            </a:avLst>
          </a:prstGeom>
          <a:ln w="12700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896" tIns="34949" rIns="69896" bIns="34949" rtlCol="0" anchor="ctr"/>
          <a:lstStyle/>
          <a:p>
            <a:pPr algn="ctr" defTabSz="699135"/>
            <a:endParaRPr lang="en-US" sz="135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9" name="Group 113"/>
          <p:cNvGrpSpPr/>
          <p:nvPr/>
        </p:nvGrpSpPr>
        <p:grpSpPr>
          <a:xfrm>
            <a:off x="5177363" y="1437624"/>
            <a:ext cx="633846" cy="562947"/>
            <a:chOff x="2393096" y="3314046"/>
            <a:chExt cx="828750" cy="736049"/>
          </a:xfrm>
          <a:solidFill>
            <a:schemeClr val="bg1"/>
          </a:solidFill>
        </p:grpSpPr>
        <p:sp>
          <p:nvSpPr>
            <p:cNvPr id="50" name="Donut 1"/>
            <p:cNvSpPr/>
            <p:nvPr/>
          </p:nvSpPr>
          <p:spPr bwMode="auto">
            <a:xfrm>
              <a:off x="2627474" y="3511580"/>
              <a:ext cx="359995" cy="358073"/>
            </a:xfrm>
            <a:custGeom>
              <a:avLst/>
              <a:gdLst/>
              <a:ahLst/>
              <a:cxnLst/>
              <a:rect l="l" t="t" r="r" b="b"/>
              <a:pathLst>
                <a:path w="359995" h="358073">
                  <a:moveTo>
                    <a:pt x="1123" y="199707"/>
                  </a:moveTo>
                  <a:lnTo>
                    <a:pt x="124671" y="200830"/>
                  </a:lnTo>
                  <a:lnTo>
                    <a:pt x="166228" y="236771"/>
                  </a:lnTo>
                  <a:cubicBezTo>
                    <a:pt x="147787" y="236941"/>
                    <a:pt x="129346" y="237110"/>
                    <a:pt x="110905" y="237279"/>
                  </a:cubicBezTo>
                  <a:cubicBezTo>
                    <a:pt x="126331" y="262471"/>
                    <a:pt x="154567" y="277062"/>
                    <a:pt x="186212" y="277062"/>
                  </a:cubicBezTo>
                  <a:cubicBezTo>
                    <a:pt x="225799" y="277062"/>
                    <a:pt x="260053" y="254227"/>
                    <a:pt x="276157" y="220830"/>
                  </a:cubicBezTo>
                  <a:lnTo>
                    <a:pt x="356653" y="220830"/>
                  </a:lnTo>
                  <a:cubicBezTo>
                    <a:pt x="337124" y="296696"/>
                    <a:pt x="268203" y="352658"/>
                    <a:pt x="186212" y="352658"/>
                  </a:cubicBezTo>
                  <a:cubicBezTo>
                    <a:pt x="127185" y="352658"/>
                    <a:pt x="74933" y="323655"/>
                    <a:pt x="43803" y="278531"/>
                  </a:cubicBezTo>
                  <a:lnTo>
                    <a:pt x="43803" y="289560"/>
                  </a:lnTo>
                  <a:lnTo>
                    <a:pt x="38188" y="358073"/>
                  </a:lnTo>
                  <a:lnTo>
                    <a:pt x="0" y="326625"/>
                  </a:lnTo>
                  <a:close/>
                  <a:moveTo>
                    <a:pt x="186212" y="0"/>
                  </a:moveTo>
                  <a:cubicBezTo>
                    <a:pt x="241995" y="0"/>
                    <a:pt x="291729" y="25904"/>
                    <a:pt x="321951" y="67970"/>
                  </a:cubicBezTo>
                  <a:cubicBezTo>
                    <a:pt x="322151" y="46267"/>
                    <a:pt x="322350" y="24565"/>
                    <a:pt x="322549" y="2862"/>
                  </a:cubicBezTo>
                  <a:lnTo>
                    <a:pt x="358490" y="44419"/>
                  </a:lnTo>
                  <a:lnTo>
                    <a:pt x="359413" y="145933"/>
                  </a:lnTo>
                  <a:cubicBezTo>
                    <a:pt x="359808" y="146450"/>
                    <a:pt x="359903" y="147019"/>
                    <a:pt x="359995" y="147588"/>
                  </a:cubicBezTo>
                  <a:lnTo>
                    <a:pt x="359428" y="147588"/>
                  </a:lnTo>
                  <a:lnTo>
                    <a:pt x="359613" y="167968"/>
                  </a:lnTo>
                  <a:lnTo>
                    <a:pt x="232696" y="169091"/>
                  </a:lnTo>
                  <a:lnTo>
                    <a:pt x="201247" y="130903"/>
                  </a:lnTo>
                  <a:lnTo>
                    <a:pt x="269760" y="125288"/>
                  </a:lnTo>
                  <a:lnTo>
                    <a:pt x="271731" y="125288"/>
                  </a:lnTo>
                  <a:cubicBezTo>
                    <a:pt x="255176" y="95313"/>
                    <a:pt x="222996" y="75596"/>
                    <a:pt x="186212" y="75596"/>
                  </a:cubicBezTo>
                  <a:cubicBezTo>
                    <a:pt x="140615" y="75596"/>
                    <a:pt x="102095" y="105890"/>
                    <a:pt x="90145" y="147588"/>
                  </a:cubicBezTo>
                  <a:lnTo>
                    <a:pt x="12428" y="147588"/>
                  </a:lnTo>
                  <a:cubicBezTo>
                    <a:pt x="25957" y="63857"/>
                    <a:pt x="98627" y="0"/>
                    <a:pt x="18621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9135" fontAlgn="base">
                <a:spcBef>
                  <a:spcPct val="0"/>
                </a:spcBef>
                <a:spcAft>
                  <a:spcPct val="0"/>
                </a:spcAft>
              </a:pPr>
              <a:endParaRPr lang="en-US" sz="1350" spc="-38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grpSp>
          <p:nvGrpSpPr>
            <p:cNvPr id="51" name="Group 115"/>
            <p:cNvGrpSpPr/>
            <p:nvPr/>
          </p:nvGrpSpPr>
          <p:grpSpPr>
            <a:xfrm>
              <a:off x="2393096" y="3314046"/>
              <a:ext cx="828750" cy="736049"/>
              <a:chOff x="5625794" y="1599766"/>
              <a:chExt cx="4594902" cy="4080930"/>
            </a:xfrm>
            <a:grpFill/>
          </p:grpSpPr>
          <p:grpSp>
            <p:nvGrpSpPr>
              <p:cNvPr id="52" name="Group 116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58" name="Freeform 122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9" name="Freeform 123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53" name="Group 117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56" name="Freeform 12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7" name="Freeform 121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913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54" name="Freeform 118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Freeform 119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913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spc="-38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27530" y="1316990"/>
            <a:ext cx="2554605" cy="2508885"/>
          </a:xfrm>
          <a:prstGeom prst="ellipse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97735" y="4065905"/>
            <a:ext cx="2416175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/>
              <a:t>——</a:t>
            </a:r>
            <a:r>
              <a:rPr lang="zh-CN" altLang="en-US" sz="1600"/>
              <a:t>观察者：杨婉君</a:t>
            </a:r>
            <a:endParaRPr lang="zh-CN" altLang="en-US" sz="1600"/>
          </a:p>
          <a:p>
            <a:r>
              <a:rPr lang="zh-CN" altLang="en-US" sz="1400"/>
              <a:t>（观察区域：菊花制作区 ） </a:t>
            </a:r>
            <a:endParaRPr lang="zh-CN" altLang="en-US" sz="14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2412 1.91103E-6 L -2.91805E-6 1.91103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ac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0" dur="500" fill="hold"/>
                                        <p:tgtEl>
                                          <p:spTgt spid="49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3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2413 1.91103E-6 L 7.50574E-7 1.91103E-6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2412 1.91103E-6 L -2.15216E-6 1.91103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6" presetClass="emph" presetSubtype="0" ac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4" dur="500" fill="hold"/>
                                        <p:tgtEl>
                                          <p:spTgt spid="26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2412 1.91103E-6 L -3.32653E-6 1.91103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3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2412 -2.38765E-6 L -2.15216E-6 -2.38765E-6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6" presetClass="emph" presetSubtype="0" accel="100000" autoRev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3" presetClass="path" presetSubtype="0" decel="100000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2412 6.49115E-7 L -7.50574E-7 6.49115E-7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6" presetClass="emph" presetSubtype="0" accel="100000" autoRev="1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55" dur="500" fill="hold"/>
                                        <p:tgtEl>
                                          <p:spTgt spid="25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3" grpId="1"/>
      <p:bldP spid="23" grpId="2"/>
      <p:bldP spid="24" grpId="0"/>
      <p:bldP spid="24" grpId="1"/>
      <p:bldP spid="24" grpId="2"/>
      <p:bldP spid="25" grpId="0"/>
      <p:bldP spid="25" grpId="1"/>
      <p:bldP spid="25" grpId="2"/>
      <p:bldP spid="4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空心弧 4"/>
          <p:cNvSpPr/>
          <p:nvPr/>
        </p:nvSpPr>
        <p:spPr bwMode="auto">
          <a:xfrm rot="16200000">
            <a:off x="855465" y="1597819"/>
            <a:ext cx="2532460" cy="2532460"/>
          </a:xfrm>
          <a:custGeom>
            <a:avLst/>
            <a:gdLst>
              <a:gd name="T0" fmla="*/ 954518 w 21600"/>
              <a:gd name="T1" fmla="*/ 2897635 h 21600"/>
              <a:gd name="T2" fmla="*/ 273724 w 21600"/>
              <a:gd name="T3" fmla="*/ 1688307 h 21600"/>
              <a:gd name="T4" fmla="*/ 1688306 w 21600"/>
              <a:gd name="T5" fmla="*/ 273725 h 21600"/>
              <a:gd name="T6" fmla="*/ 3102888 w 21600"/>
              <a:gd name="T7" fmla="*/ 1688307 h 21600"/>
              <a:gd name="T8" fmla="*/ 2421937 w 21600"/>
              <a:gd name="T9" fmla="*/ 2897635 h 21600"/>
              <a:gd name="T10" fmla="*/ 2563880 w 21600"/>
              <a:gd name="T11" fmla="*/ 3131653 h 21600"/>
              <a:gd name="T12" fmla="*/ 3376612 w 21600"/>
              <a:gd name="T13" fmla="*/ 1688307 h 21600"/>
              <a:gd name="T14" fmla="*/ 1688306 w 21600"/>
              <a:gd name="T15" fmla="*/ 0 h 21600"/>
              <a:gd name="T16" fmla="*/ 0 w 21600"/>
              <a:gd name="T17" fmla="*/ 1688307 h 21600"/>
              <a:gd name="T18" fmla="*/ 812575 w 21600"/>
              <a:gd name="T19" fmla="*/ 3131653 h 21600"/>
              <a:gd name="T20" fmla="*/ 954518 w 21600"/>
              <a:gd name="T21" fmla="*/ 2897635 h 2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1600"/>
              <a:gd name="T34" fmla="*/ 0 h 21600"/>
              <a:gd name="T35" fmla="*/ 21600 w 21600"/>
              <a:gd name="T36" fmla="*/ 18772 h 2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1600" h="21600">
                <a:moveTo>
                  <a:pt x="6106" y="18536"/>
                </a:moveTo>
                <a:cubicBezTo>
                  <a:pt x="3402" y="16896"/>
                  <a:pt x="1751" y="13962"/>
                  <a:pt x="1751" y="10800"/>
                </a:cubicBezTo>
                <a:cubicBezTo>
                  <a:pt x="1751" y="5802"/>
                  <a:pt x="5802" y="1751"/>
                  <a:pt x="10800" y="1751"/>
                </a:cubicBezTo>
                <a:cubicBezTo>
                  <a:pt x="15797" y="1751"/>
                  <a:pt x="19849" y="5802"/>
                  <a:pt x="19849" y="10800"/>
                </a:cubicBezTo>
                <a:cubicBezTo>
                  <a:pt x="19849" y="13962"/>
                  <a:pt x="18197" y="16896"/>
                  <a:pt x="15493" y="18536"/>
                </a:cubicBezTo>
                <a:lnTo>
                  <a:pt x="16401" y="20033"/>
                </a:lnTo>
                <a:cubicBezTo>
                  <a:pt x="19628" y="18075"/>
                  <a:pt x="21600" y="1457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-1" y="14574"/>
                  <a:pt x="1971" y="18075"/>
                  <a:pt x="5198" y="20033"/>
                </a:cubicBezTo>
                <a:lnTo>
                  <a:pt x="6106" y="18536"/>
                </a:lnTo>
                <a:close/>
              </a:path>
            </a:pathLst>
          </a:custGeom>
          <a:solidFill>
            <a:schemeClr val="tx1">
              <a:alpha val="83920"/>
            </a:schemeClr>
          </a:solidFill>
          <a:ln>
            <a:noFill/>
          </a:ln>
        </p:spPr>
        <p:txBody>
          <a:bodyPr anchor="ctr"/>
          <a:lstStyle/>
          <a:p>
            <a:endParaRPr lang="zh-CN" altLang="en-US" sz="107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/>
          <p:cNvGrpSpPr/>
          <p:nvPr/>
        </p:nvGrpSpPr>
        <p:grpSpPr bwMode="auto">
          <a:xfrm>
            <a:off x="5306021" y="1831180"/>
            <a:ext cx="3109595" cy="346075"/>
            <a:chOff x="7073484" y="2441806"/>
            <a:chExt cx="4147553" cy="460644"/>
          </a:xfrm>
        </p:grpSpPr>
        <p:sp>
          <p:nvSpPr>
            <p:cNvPr id="12" name="TextBox 138"/>
            <p:cNvSpPr txBox="1">
              <a:spLocks noChangeArrowheads="1"/>
            </p:cNvSpPr>
            <p:nvPr/>
          </p:nvSpPr>
          <p:spPr bwMode="auto">
            <a:xfrm>
              <a:off x="7433441" y="2441806"/>
              <a:ext cx="3787596" cy="4606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3" tIns="0" rIns="68573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能够添加材料，使天线会发光</a:t>
              </a:r>
              <a:endPara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  <a:cs typeface="华文黑体" charset="-122"/>
              </a:endParaRPr>
            </a:p>
          </p:txBody>
        </p:sp>
        <p:sp>
          <p:nvSpPr>
            <p:cNvPr id="13" name="矩形 22"/>
            <p:cNvSpPr>
              <a:spLocks noChangeArrowheads="1"/>
            </p:cNvSpPr>
            <p:nvPr/>
          </p:nvSpPr>
          <p:spPr bwMode="auto">
            <a:xfrm>
              <a:off x="7073484" y="2574698"/>
              <a:ext cx="360058" cy="2307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425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grpSp>
        <p:nvGrpSpPr>
          <p:cNvPr id="15" name="组合 14"/>
          <p:cNvGrpSpPr/>
          <p:nvPr/>
        </p:nvGrpSpPr>
        <p:grpSpPr bwMode="auto">
          <a:xfrm>
            <a:off x="5306021" y="2518092"/>
            <a:ext cx="3272790" cy="692150"/>
            <a:chOff x="7073484" y="3356448"/>
            <a:chExt cx="4365221" cy="925453"/>
          </a:xfrm>
        </p:grpSpPr>
        <p:sp>
          <p:nvSpPr>
            <p:cNvPr id="16" name="TextBox 72"/>
            <p:cNvSpPr txBox="1">
              <a:spLocks noChangeArrowheads="1"/>
            </p:cNvSpPr>
            <p:nvPr/>
          </p:nvSpPr>
          <p:spPr bwMode="auto">
            <a:xfrm>
              <a:off x="7433441" y="3356448"/>
              <a:ext cx="4005264" cy="925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3" tIns="0" rIns="68573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l" eaLnBrk="1" hangingPunct="1">
                <a:lnSpc>
                  <a:spcPct val="150000"/>
                </a:lnSpc>
              </a:pPr>
              <a:r>
                <a:rPr lang="zh-CN" altLang="en-US" sz="15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运用不同的方法，组合机器人的脚（双面胶的使用）</a:t>
              </a:r>
              <a:endParaRPr lang="zh-CN" altLang="en-US" sz="1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华文黑体" charset="-122"/>
              </a:endParaRPr>
            </a:p>
          </p:txBody>
        </p:sp>
        <p:sp>
          <p:nvSpPr>
            <p:cNvPr id="17" name="矩形 22"/>
            <p:cNvSpPr>
              <a:spLocks noChangeArrowheads="1"/>
            </p:cNvSpPr>
            <p:nvPr/>
          </p:nvSpPr>
          <p:spPr bwMode="auto">
            <a:xfrm>
              <a:off x="7073484" y="3605658"/>
              <a:ext cx="360058" cy="2307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425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 bwMode="auto">
          <a:xfrm>
            <a:off x="5306021" y="3401615"/>
            <a:ext cx="3273425" cy="692150"/>
            <a:chOff x="7073484" y="4534743"/>
            <a:chExt cx="4366068" cy="925453"/>
          </a:xfrm>
        </p:grpSpPr>
        <p:sp>
          <p:nvSpPr>
            <p:cNvPr id="20" name="TextBox 75"/>
            <p:cNvSpPr txBox="1">
              <a:spLocks noChangeArrowheads="1"/>
            </p:cNvSpPr>
            <p:nvPr/>
          </p:nvSpPr>
          <p:spPr bwMode="auto">
            <a:xfrm>
              <a:off x="7433441" y="4534743"/>
              <a:ext cx="4006111" cy="925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3" tIns="0" rIns="68573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l" eaLnBrk="1" hangingPunct="1">
                <a:lnSpc>
                  <a:spcPct val="150000"/>
                </a:lnSpc>
              </a:pP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与他人合作，在前期基础上进行创作活动。</a:t>
              </a:r>
              <a:endPara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  <a:cs typeface="华文黑体" charset="-122"/>
              </a:endParaRPr>
            </a:p>
          </p:txBody>
        </p:sp>
        <p:sp>
          <p:nvSpPr>
            <p:cNvPr id="21" name="矩形 22"/>
            <p:cNvSpPr>
              <a:spLocks noChangeArrowheads="1"/>
            </p:cNvSpPr>
            <p:nvPr/>
          </p:nvSpPr>
          <p:spPr bwMode="auto">
            <a:xfrm>
              <a:off x="7073484" y="4667635"/>
              <a:ext cx="360058" cy="230796"/>
            </a:xfrm>
            <a:prstGeom prst="rect">
              <a:avLst/>
            </a:prstGeom>
            <a:solidFill>
              <a:schemeClr val="tx1">
                <a:alpha val="7294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3130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425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grpSp>
        <p:nvGrpSpPr>
          <p:cNvPr id="25" name="组合 24"/>
          <p:cNvGrpSpPr/>
          <p:nvPr/>
        </p:nvGrpSpPr>
        <p:grpSpPr bwMode="auto">
          <a:xfrm>
            <a:off x="3010496" y="1999060"/>
            <a:ext cx="2295525" cy="1588294"/>
            <a:chOff x="4013318" y="2665635"/>
            <a:chExt cx="3060168" cy="2117398"/>
          </a:xfrm>
        </p:grpSpPr>
        <p:cxnSp>
          <p:nvCxnSpPr>
            <p:cNvPr id="26" name="直接连接符 25"/>
            <p:cNvCxnSpPr/>
            <p:nvPr/>
          </p:nvCxnSpPr>
          <p:spPr>
            <a:xfrm flipH="1">
              <a:off x="4151407" y="2665635"/>
              <a:ext cx="2922079" cy="2412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>
              <a:stCxn id="21" idx="1"/>
            </p:cNvCxnSpPr>
            <p:nvPr/>
          </p:nvCxnSpPr>
          <p:spPr>
            <a:xfrm flipH="1" flipV="1">
              <a:off x="4151407" y="4535421"/>
              <a:ext cx="2922079" cy="24761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/>
          </p:nvCxnSpPr>
          <p:spPr>
            <a:xfrm flipH="1">
              <a:off x="4013318" y="3708461"/>
              <a:ext cx="3060168" cy="10952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8"/>
          <p:cNvSpPr txBox="1"/>
          <p:nvPr/>
        </p:nvSpPr>
        <p:spPr>
          <a:xfrm>
            <a:off x="6640195" y="510540"/>
            <a:ext cx="1775460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焦点回顾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152015" y="4255770"/>
            <a:ext cx="2416175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/>
              <a:t>——</a:t>
            </a:r>
            <a:r>
              <a:rPr lang="zh-CN" altLang="en-US" sz="1600"/>
              <a:t>观察者：黄良燕</a:t>
            </a:r>
            <a:endParaRPr lang="zh-CN" altLang="en-US" sz="1600"/>
          </a:p>
          <a:p>
            <a:r>
              <a:rPr lang="zh-CN" altLang="en-US" sz="1400"/>
              <a:t>（观察区域：纸盒制作区 ） </a:t>
            </a:r>
            <a:endParaRPr lang="zh-CN" altLang="en-US" sz="140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5345" y="1546225"/>
            <a:ext cx="2707005" cy="2583815"/>
          </a:xfrm>
          <a:prstGeom prst="ellipse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300"/>
                            </p:stCondLst>
                            <p:childTnLst>
                              <p:par>
                                <p:cTn id="1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800"/>
                            </p:stCondLst>
                            <p:childTnLst>
                              <p:par>
                                <p:cTn id="1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300"/>
                            </p:stCondLst>
                            <p:childTnLst>
                              <p:par>
                                <p:cTn id="2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815056" y="2057566"/>
            <a:ext cx="434594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3</a:t>
            </a:r>
            <a:r>
              <a:rPr lang="zh-CN" altLang="en-US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互动分享</a:t>
            </a:r>
            <a:r>
              <a:rPr lang="en-US" altLang="zh-CN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—</a:t>
            </a:r>
            <a:r>
              <a:rPr lang="zh-CN" altLang="en-US" sz="2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学习、梳理</a:t>
            </a:r>
            <a:endParaRPr lang="zh-CN" altLang="en-US" sz="240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 txBox="1"/>
          <p:nvPr/>
        </p:nvSpPr>
        <p:spPr>
          <a:xfrm>
            <a:off x="6621145" y="558165"/>
            <a:ext cx="1790700" cy="36258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15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组讨论、交流</a:t>
            </a:r>
            <a:endParaRPr lang="en-US" altLang="zh-CN" sz="15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1116186" y="1563638"/>
            <a:ext cx="1150937" cy="1150937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交流</a:t>
            </a:r>
            <a:endParaRPr lang="zh-CN" altLang="en-US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论点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7092280" y="1635075"/>
            <a:ext cx="1008063" cy="10080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 flipH="1">
            <a:off x="2483023" y="2139900"/>
            <a:ext cx="4465241" cy="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ash"/>
            <a:rou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2482850" y="1635125"/>
            <a:ext cx="5184775" cy="1008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sz="1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中教师运用到的评价策略有哪些？</a:t>
            </a:r>
            <a:endParaRPr lang="zh-CN" sz="140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sz="140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sz="140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sz="14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除这些以外，还有哪些？</a:t>
            </a:r>
            <a:endParaRPr lang="zh-CN" sz="14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9" grpId="0" bldLvl="0" animBg="1"/>
      <p:bldP spid="10" grpId="0" bldLvl="0" animBg="1"/>
      <p:bldP spid="11" grpId="0" bldLvl="0" animBg="1"/>
    </p:bldLst>
  </p:timing>
</p:sld>
</file>

<file path=ppt/tags/tag1.xml><?xml version="1.0" encoding="utf-8"?>
<p:tagLst xmlns:p="http://schemas.openxmlformats.org/presentationml/2006/main">
  <p:tag name="THINKCELLSHAPEDONOTDELETE" val="pKOZHO13yzUCaepRpRzBw5w"/>
</p:tagLst>
</file>

<file path=ppt/tags/tag2.xml><?xml version="1.0" encoding="utf-8"?>
<p:tagLst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​​">
  <a:themeElements>
    <a:clrScheme name="自定义 3723">
      <a:dk1>
        <a:srgbClr val="779B37"/>
      </a:dk1>
      <a:lt1>
        <a:srgbClr val="84B3A3"/>
      </a:lt1>
      <a:dk2>
        <a:srgbClr val="779B37"/>
      </a:dk2>
      <a:lt2>
        <a:srgbClr val="84B3A3"/>
      </a:lt2>
      <a:accent1>
        <a:srgbClr val="000000"/>
      </a:accent1>
      <a:accent2>
        <a:srgbClr val="FFFFFF"/>
      </a:accent2>
      <a:accent3>
        <a:srgbClr val="5F5F5F"/>
      </a:accent3>
      <a:accent4>
        <a:srgbClr val="080808"/>
      </a:accent4>
      <a:accent5>
        <a:srgbClr val="080808"/>
      </a:accent5>
      <a:accent6>
        <a:srgbClr val="080808"/>
      </a:accent6>
      <a:hlink>
        <a:srgbClr val="080808"/>
      </a:hlink>
      <a:folHlink>
        <a:srgbClr val="08080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1</Words>
  <Application>WPS 演示</Application>
  <PresentationFormat>全屏显示(16:9)</PresentationFormat>
  <Paragraphs>173</Paragraphs>
  <Slides>18</Slides>
  <Notes>31</Notes>
  <HiddenSlides>0</HiddenSlides>
  <MMClips>1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31" baseType="lpstr">
      <vt:lpstr>Arial</vt:lpstr>
      <vt:lpstr>宋体</vt:lpstr>
      <vt:lpstr>Wingdings</vt:lpstr>
      <vt:lpstr>微软雅黑</vt:lpstr>
      <vt:lpstr>Ohka</vt:lpstr>
      <vt:lpstr>MS UI Gothic</vt:lpstr>
      <vt:lpstr>Segoe UI</vt:lpstr>
      <vt:lpstr>Calibri</vt:lpstr>
      <vt:lpstr>华文黑体</vt:lpstr>
      <vt:lpstr>黑体</vt:lpstr>
      <vt:lpstr>Times New Roman</vt:lpstr>
      <vt:lpstr>Arial Unicode MS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ddd</dc:creator>
  <cp:lastModifiedBy>Jane1417263470</cp:lastModifiedBy>
  <cp:revision>1957</cp:revision>
  <dcterms:created xsi:type="dcterms:W3CDTF">2014-06-06T07:22:00Z</dcterms:created>
  <dcterms:modified xsi:type="dcterms:W3CDTF">2020-10-24T01:4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000</vt:lpwstr>
  </property>
</Properties>
</file>